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1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2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>
  <p:sldMasterIdLst>
    <p:sldMasterId id="2147483684" r:id="rId4"/>
  </p:sldMasterIdLst>
  <p:notesMasterIdLst>
    <p:notesMasterId r:id="rId16"/>
  </p:notesMasterIdLst>
  <p:handoutMasterIdLst>
    <p:handoutMasterId r:id="rId17"/>
  </p:handoutMasterIdLst>
  <p:sldIdLst>
    <p:sldId id="256" r:id="rId5"/>
    <p:sldId id="2147376554" r:id="rId6"/>
    <p:sldId id="2147376542" r:id="rId7"/>
    <p:sldId id="2147376550" r:id="rId8"/>
    <p:sldId id="2147376551" r:id="rId9"/>
    <p:sldId id="2147376545" r:id="rId10"/>
    <p:sldId id="257" r:id="rId11"/>
    <p:sldId id="2147376546" r:id="rId12"/>
    <p:sldId id="2147376547" r:id="rId13"/>
    <p:sldId id="2147376553" r:id="rId14"/>
    <p:sldId id="2147376549" r:id="rId15"/>
  </p:sldIdLst>
  <p:sldSz cx="12192000" cy="6858000"/>
  <p:notesSz cx="9144000" cy="6858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3333"/>
    <a:srgbClr val="F44D47"/>
    <a:srgbClr val="666666"/>
    <a:srgbClr val="E32119"/>
    <a:srgbClr val="000000"/>
    <a:srgbClr val="FDC304"/>
    <a:srgbClr val="82CBD4"/>
    <a:srgbClr val="95C121"/>
    <a:srgbClr val="EF7E05"/>
    <a:srgbClr val="1BACE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33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ABB1449-E72C-4C26-BFA8-5E63A8E2FCB3}" v="19" dt="2025-05-13T08:26:58.85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950" autoAdjust="0"/>
    <p:restoredTop sz="93792" autoAdjust="0"/>
  </p:normalViewPr>
  <p:slideViewPr>
    <p:cSldViewPr snapToGrid="0">
      <p:cViewPr varScale="1">
        <p:scale>
          <a:sx n="107" d="100"/>
          <a:sy n="107" d="100"/>
        </p:scale>
        <p:origin x="810" y="102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howGuides="1">
      <p:cViewPr varScale="1">
        <p:scale>
          <a:sx n="67" d="100"/>
          <a:sy n="67" d="100"/>
        </p:scale>
        <p:origin x="1868" y="5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microsoft.com/office/2018/10/relationships/authors" Target="authors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microsoft.com/office/2015/10/relationships/revisionInfo" Target="revisionInfo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DB768DAB-FE87-4CAB-AEAC-2A9EBE55511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A9FC4E2-F6F1-419C-9F44-302787CC4AC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5180013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0D87A0D-4AE4-469D-8C0F-1E3E19CC0F04}" type="datetimeFigureOut">
              <a:rPr lang="en-GB" smtClean="0"/>
              <a:t>13/05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134850C-42C4-41F0-AA1F-2F442460B52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03B8400-D95F-432A-B8B1-FBF545FE074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5180013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F9E6EB-C898-47AB-9193-70CED8AB477C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204001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8E864C0-77EE-456B-9747-0A15F816AD6A}" type="datetimeFigureOut">
              <a:rPr lang="en-GB" smtClean="0"/>
              <a:t>13/05/2025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514600" y="857250"/>
            <a:ext cx="4114800" cy="2314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300413"/>
            <a:ext cx="7315200" cy="270033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80013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C1A71F-ED3E-4A54-969C-A8BBEECB2EB9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6984538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C1A71F-ED3E-4A54-969C-A8BBEECB2EB9}" type="slidenum">
              <a:rPr lang="en-GB" smtClean="0"/>
              <a:t>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7583540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C1A71F-ED3E-4A54-969C-A8BBEECB2EB9}" type="slidenum">
              <a:rPr lang="en-GB" smtClean="0"/>
              <a:t>1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40296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Wind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7" name="Picture 6" descr="A person sitting at a table&#10;&#10;Description automatically generated">
            <a:extLst>
              <a:ext uri="{FF2B5EF4-FFF2-40B4-BE49-F238E27FC236}">
                <a16:creationId xmlns:a16="http://schemas.microsoft.com/office/drawing/2014/main" id="{3747B2C2-D7DB-F96A-CA19-BCB21C0057A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B53D7E9-E6A4-2A07-329F-6B4F90A81E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35"/>
          <a:stretch/>
        </p:blipFill>
        <p:spPr>
          <a:xfrm>
            <a:off x="0" y="0"/>
            <a:ext cx="12209138" cy="6857999"/>
          </a:xfrm>
          <a:prstGeom prst="rect">
            <a:avLst/>
          </a:prstGeom>
        </p:spPr>
      </p:pic>
      <p:pic>
        <p:nvPicPr>
          <p:cNvPr id="9" name="Picture 8" descr="Marketreach Logo">
            <a:extLst>
              <a:ext uri="{FF2B5EF4-FFF2-40B4-BE49-F238E27FC236}">
                <a16:creationId xmlns:a16="http://schemas.microsoft.com/office/drawing/2014/main" id="{465AEAE4-055E-5438-6914-E0F5EA63BC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9D21407-9DE8-879F-B4E6-3ACBC100B5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6" name="Title 3">
            <a:extLst>
              <a:ext uri="{FF2B5EF4-FFF2-40B4-BE49-F238E27FC236}">
                <a16:creationId xmlns:a16="http://schemas.microsoft.com/office/drawing/2014/main" id="{B673D9D7-75A6-4AE4-226E-79C397A287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9309828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, UPPER CASE</a:t>
            </a:r>
            <a:endParaRPr lang="en-US" dirty="0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F6CB0B91-34B3-9F5A-BAC8-A94E7886C5D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922637"/>
            <a:ext cx="9214895" cy="2338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, sentence case</a:t>
            </a:r>
          </a:p>
        </p:txBody>
      </p:sp>
      <p:sp>
        <p:nvSpPr>
          <p:cNvPr id="10" name="Text Placeholder 37">
            <a:extLst>
              <a:ext uri="{FF2B5EF4-FFF2-40B4-BE49-F238E27FC236}">
                <a16:creationId xmlns:a16="http://schemas.microsoft.com/office/drawing/2014/main" id="{CBE09BC7-40D7-5252-6C1C-F503A117A81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314843"/>
            <a:ext cx="9214895" cy="21341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0165252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, D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1" name="Picture 10" descr="A red dart hitting the center of a dartboard&#10;&#10;Description automatically generated">
            <a:extLst>
              <a:ext uri="{FF2B5EF4-FFF2-40B4-BE49-F238E27FC236}">
                <a16:creationId xmlns:a16="http://schemas.microsoft.com/office/drawing/2014/main" id="{06ECAB87-E9E8-9269-808A-AE4DA532E9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7989" cy="685799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36C2E891-B959-F4FF-6A83-B747674531D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"/>
            <a:ext cx="12192000" cy="685799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52AD34DE-EF1F-16E6-F0D2-10F19E7576A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E7F44D47-D220-6FFA-2D73-0A6D2C428F9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4683" y="110507"/>
            <a:ext cx="1836000" cy="2431842"/>
          </a:xfrm>
          <a:prstGeom prst="rect">
            <a:avLst/>
          </a:prstGeom>
        </p:spPr>
      </p:pic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2FC88151-035A-659B-D320-5D73A11CB74B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24544" y="1781175"/>
            <a:ext cx="9857140" cy="4360769"/>
          </a:xfrm>
          <a:prstGeom prst="rect">
            <a:avLst/>
          </a:prstGeom>
        </p:spPr>
        <p:txBody>
          <a:bodyPr/>
          <a:lstStyle>
            <a:lvl1pPr marL="457200" indent="-457200">
              <a:buClr>
                <a:schemeClr val="accent1"/>
              </a:buClr>
              <a:buSzPct val="100000"/>
              <a:buFont typeface="+mj-lt"/>
              <a:buAutoNum type="arabicPeriod"/>
              <a:defRPr sz="2400" b="1">
                <a:solidFill>
                  <a:schemeClr val="bg1"/>
                </a:solidFill>
              </a:defRPr>
            </a:lvl1pPr>
            <a:lvl2pPr marL="914400" indent="-457200">
              <a:buClr>
                <a:schemeClr val="accent1"/>
              </a:buClr>
              <a:buSzPct val="100000"/>
              <a:buFont typeface="+mj-lt"/>
              <a:buAutoNum type="arabicPeriod"/>
              <a:defRPr sz="2400">
                <a:solidFill>
                  <a:schemeClr val="bg1"/>
                </a:solidFill>
              </a:defRPr>
            </a:lvl2pPr>
            <a:lvl3pPr marL="1371600" indent="-457200">
              <a:buClr>
                <a:schemeClr val="accent1"/>
              </a:buClr>
              <a:buSzPct val="100000"/>
              <a:buFont typeface="+mj-lt"/>
              <a:buAutoNum type="arabicPeriod"/>
              <a:defRPr sz="2400">
                <a:solidFill>
                  <a:schemeClr val="bg1"/>
                </a:solidFill>
              </a:defRPr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>
                <a:solidFill>
                  <a:schemeClr val="bg1"/>
                </a:solidFill>
              </a:defRPr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agenda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CDBCA269-E9DF-2374-02B1-C006B63140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, E.G. AGENDA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780736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, P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3" name="Picture 2" descr="A group of kids pulling a rope&#10;&#10;Description automatically generated">
            <a:extLst>
              <a:ext uri="{FF2B5EF4-FFF2-40B4-BE49-F238E27FC236}">
                <a16:creationId xmlns:a16="http://schemas.microsoft.com/office/drawing/2014/main" id="{56250658-E613-41DD-E1F3-EBA5C69167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85" y="0"/>
            <a:ext cx="12192000" cy="685799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36C2E891-B959-F4FF-6A83-B747674531D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"/>
            <a:ext cx="12192000" cy="685799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52AD34DE-EF1F-16E6-F0D2-10F19E7576A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32146C0-C60E-7AAF-EBD4-64C0DB26B870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24544" y="1781175"/>
            <a:ext cx="9857140" cy="4360769"/>
          </a:xfrm>
          <a:prstGeom prst="rect">
            <a:avLst/>
          </a:prstGeom>
        </p:spPr>
        <p:txBody>
          <a:bodyPr/>
          <a:lstStyle>
            <a:lvl1pPr marL="457200" indent="-457200">
              <a:buClr>
                <a:schemeClr val="accent1"/>
              </a:buClr>
              <a:buSzPct val="100000"/>
              <a:buFont typeface="+mj-lt"/>
              <a:buAutoNum type="arabicPeriod"/>
              <a:defRPr sz="2400" b="1">
                <a:solidFill>
                  <a:schemeClr val="bg1"/>
                </a:solidFill>
              </a:defRPr>
            </a:lvl1pPr>
            <a:lvl2pPr marL="914400" indent="-457200">
              <a:buClr>
                <a:schemeClr val="accent1"/>
              </a:buClr>
              <a:buSzPct val="100000"/>
              <a:buFont typeface="+mj-lt"/>
              <a:buAutoNum type="arabicPeriod"/>
              <a:defRPr sz="2400">
                <a:solidFill>
                  <a:schemeClr val="bg1"/>
                </a:solidFill>
              </a:defRPr>
            </a:lvl2pPr>
            <a:lvl3pPr marL="1371600" indent="-457200">
              <a:buClr>
                <a:schemeClr val="accent1"/>
              </a:buClr>
              <a:buSzPct val="100000"/>
              <a:buFont typeface="+mj-lt"/>
              <a:buAutoNum type="arabicPeriod"/>
              <a:defRPr sz="2400">
                <a:solidFill>
                  <a:schemeClr val="bg1"/>
                </a:solidFill>
              </a:defRPr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>
                <a:solidFill>
                  <a:schemeClr val="bg1"/>
                </a:solidFill>
              </a:defRPr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agenda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F8D150C-BED2-6991-33E2-B68B31852D1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4683" y="110507"/>
            <a:ext cx="1836000" cy="2431842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2ACC9F6F-C062-025D-B837-A281429D7A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, E.G. AGENDA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6474359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Tit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BCF829B6-8F65-9C49-8B56-C81689650C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100677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single title, upper case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6526A71-AA71-0340-ADDE-15A0DA0261A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10039124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E8C924B-FE6C-4195-94BA-9C7F88E46206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2ADCCE5-13D3-CE70-0806-5B9AFDFE49F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4" name="Slide Number Placeholder 1">
            <a:extLst>
              <a:ext uri="{FF2B5EF4-FFF2-40B4-BE49-F238E27FC236}">
                <a16:creationId xmlns:a16="http://schemas.microsoft.com/office/drawing/2014/main" id="{31BA0255-B68A-F247-A437-8EA9512663F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F475563C-D454-5866-91F5-422E7E96B7D0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24544" y="1781175"/>
            <a:ext cx="11332027" cy="4476750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2567530D-C0DE-CB06-FBF9-CAD198CA903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  <p:pic>
        <p:nvPicPr>
          <p:cNvPr id="2" name="Picture 1" descr="Marketreach Logo">
            <a:extLst>
              <a:ext uri="{FF2B5EF4-FFF2-40B4-BE49-F238E27FC236}">
                <a16:creationId xmlns:a16="http://schemas.microsoft.com/office/drawing/2014/main" id="{33A244C7-8D54-ABB4-6BD3-94A6070E2A5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91902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Tit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F748C296-1AF5-F847-854D-2C0B9016D0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6000" y="377055"/>
            <a:ext cx="10096275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double title,</a:t>
            </a:r>
            <a:br>
              <a:rPr lang="en-US" dirty="0"/>
            </a:br>
            <a:r>
              <a:rPr lang="en-US" dirty="0"/>
              <a:t>upper case</a:t>
            </a:r>
            <a:endParaRPr lang="en-GB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9ABC905B-966A-324C-BD60-0E81083AC33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5" y="1468614"/>
            <a:ext cx="10067699" cy="275916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FCE2DE8-03B2-4D41-8C78-EBE9436DA30B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AE697FE-9F90-4E61-A5A4-654ACBE73B3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4" name="Slide Number Placeholder 1">
            <a:extLst>
              <a:ext uri="{FF2B5EF4-FFF2-40B4-BE49-F238E27FC236}">
                <a16:creationId xmlns:a16="http://schemas.microsoft.com/office/drawing/2014/main" id="{3A0B263F-3014-55F6-0546-D7E9A23B80C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157C870-9501-4331-FCE1-7C5D289D1518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24544" y="1781175"/>
            <a:ext cx="11332027" cy="4476750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2" name="Picture 1" descr="Marketreach Logo">
            <a:extLst>
              <a:ext uri="{FF2B5EF4-FFF2-40B4-BE49-F238E27FC236}">
                <a16:creationId xmlns:a16="http://schemas.microsoft.com/office/drawing/2014/main" id="{CE69A10F-CEFA-57E0-B395-AB5769B8DDC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DEEC3C1A-4249-C6CD-BEE3-3632FD25D9C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23292476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Wi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7B055BB-1529-C50D-CBCF-F628B50B4C3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3" name="Picture 2" descr="A close-up of a windmill&#10;&#10;Description automatically generated">
            <a:extLst>
              <a:ext uri="{FF2B5EF4-FFF2-40B4-BE49-F238E27FC236}">
                <a16:creationId xmlns:a16="http://schemas.microsoft.com/office/drawing/2014/main" id="{615FB81F-FAC9-B398-6A98-C241E9E2DE3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79721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29404A4-47A7-E7C4-0A56-CA60C4C34A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E1E86E8-D6DF-AA20-3BF4-097B26D38D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5E09024-86C2-D8D2-05E9-BB4065BCA75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00F66D9-CD2E-B4EF-3856-45381210F97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411892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R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7B055BB-1529-C50D-CBCF-F628B50B4C3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3" name="Picture 2" descr="A person reading a paper&#10;&#10;Description automatically generated">
            <a:extLst>
              <a:ext uri="{FF2B5EF4-FFF2-40B4-BE49-F238E27FC236}">
                <a16:creationId xmlns:a16="http://schemas.microsoft.com/office/drawing/2014/main" id="{3747269B-3FFA-D268-DCDB-A7CC7BCCAC8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"/>
            <a:ext cx="12191999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29404A4-47A7-E7C4-0A56-CA60C4C34A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-2" y="-1"/>
            <a:ext cx="12192000" cy="6858000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E1E86E8-D6DF-AA20-3BF4-097B26D38D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5E09024-86C2-D8D2-05E9-BB4065BCA75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14B8FB92-66BA-B898-5637-878EF6BC97A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001140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Chai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7B055BB-1529-C50D-CBCF-F628B50B4C3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3" name="Picture 2" descr="A child sitting in a chair with his feet on the radiator&#10;&#10;Description automatically generated">
            <a:extLst>
              <a:ext uri="{FF2B5EF4-FFF2-40B4-BE49-F238E27FC236}">
                <a16:creationId xmlns:a16="http://schemas.microsoft.com/office/drawing/2014/main" id="{CEAC376B-CCB0-2363-6C56-83FCF3F8C8D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29404A4-47A7-E7C4-0A56-CA60C4C34A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E1E86E8-D6DF-AA20-3BF4-097B26D38D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5E09024-86C2-D8D2-05E9-BB4065BCA75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C70DE8BC-FDB4-6154-C871-0783F60E234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536044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Lea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7B055BB-1529-C50D-CBCF-F628B50B4C3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6" name="Picture 5" descr="Sun shining through the leaves of a plant&#10;&#10;Description automatically generated">
            <a:extLst>
              <a:ext uri="{FF2B5EF4-FFF2-40B4-BE49-F238E27FC236}">
                <a16:creationId xmlns:a16="http://schemas.microsoft.com/office/drawing/2014/main" id="{F18017F1-DFA3-5309-EB08-6A9E10AE34C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0161" cy="6862177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29404A4-47A7-E7C4-0A56-CA60C4C34A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-4177"/>
            <a:ext cx="12203553" cy="6862177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E1E86E8-D6DF-AA20-3BF4-097B26D38D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5E09024-86C2-D8D2-05E9-BB4065BCA75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F2E0E154-6A25-2A4A-3E15-9C6348423C9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970834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Let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7B055BB-1529-C50D-CBCF-F628B50B4C3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8" name="Picture 7" descr="A person opening a letter&#10;&#10;Description automatically generated">
            <a:extLst>
              <a:ext uri="{FF2B5EF4-FFF2-40B4-BE49-F238E27FC236}">
                <a16:creationId xmlns:a16="http://schemas.microsoft.com/office/drawing/2014/main" id="{FD803DEC-AE53-3DD8-25E4-14BC033CC1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29404A4-47A7-E7C4-0A56-CA60C4C34A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-1"/>
            <a:ext cx="12192000" cy="6858000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E1E86E8-D6DF-AA20-3BF4-097B26D38D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5E09024-86C2-D8D2-05E9-BB4065BCA75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6404FCE-67E0-37DA-59FC-590BE9BFFF5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300639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C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7B055BB-1529-C50D-CBCF-F628B50B4C3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3" name="Picture 2" descr="A person holding a trophy&#10;&#10;Description automatically generated">
            <a:extLst>
              <a:ext uri="{FF2B5EF4-FFF2-40B4-BE49-F238E27FC236}">
                <a16:creationId xmlns:a16="http://schemas.microsoft.com/office/drawing/2014/main" id="{98EA204B-B88F-774C-B8FC-1737FCFE63C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29404A4-47A7-E7C4-0A56-CA60C4C34A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E1E86E8-D6DF-AA20-3BF4-097B26D38D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5E09024-86C2-D8D2-05E9-BB4065BCA75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B62D625-6327-C60A-C457-754D161ACDD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803419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treng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0" name="Picture 9" descr="A child in a garment holding a barbell&#10;&#10;Description automatically generated">
            <a:extLst>
              <a:ext uri="{FF2B5EF4-FFF2-40B4-BE49-F238E27FC236}">
                <a16:creationId xmlns:a16="http://schemas.microsoft.com/office/drawing/2014/main" id="{8B2B9B5B-81FB-F17D-3E14-3636164713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0"/>
            <a:ext cx="12186660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B53D7E9-E6A4-2A07-329F-6B4F90A81E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474"/>
          <a:stretch/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9D21407-9DE8-879F-B4E6-3ACBC100B5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DBB20C6A-C347-EBF1-B98B-A8DF1551CF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9309828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, UPPER CASE</a:t>
            </a:r>
            <a:endParaRPr lang="en-US" dirty="0"/>
          </a:p>
        </p:txBody>
      </p:sp>
      <p:pic>
        <p:nvPicPr>
          <p:cNvPr id="9" name="Picture 8" descr="Marketreach Logo">
            <a:extLst>
              <a:ext uri="{FF2B5EF4-FFF2-40B4-BE49-F238E27FC236}">
                <a16:creationId xmlns:a16="http://schemas.microsoft.com/office/drawing/2014/main" id="{465AEAE4-055E-5438-6914-E0F5EA63BC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BFF5E309-D550-02BD-695F-41FC1411329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922637"/>
            <a:ext cx="9214895" cy="2338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, sentence case</a:t>
            </a:r>
          </a:p>
        </p:txBody>
      </p:sp>
      <p:sp>
        <p:nvSpPr>
          <p:cNvPr id="5" name="Text Placeholder 37">
            <a:extLst>
              <a:ext uri="{FF2B5EF4-FFF2-40B4-BE49-F238E27FC236}">
                <a16:creationId xmlns:a16="http://schemas.microsoft.com/office/drawing/2014/main" id="{37474BBE-261E-CE92-2409-6CC0FC03F04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314843"/>
            <a:ext cx="9214895" cy="21341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5936383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Le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7B055BB-1529-C50D-CBCF-F628B50B4C3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2" name="Picture 1" descr="A person jumping in the air&#10;&#10;Description automatically generated">
            <a:extLst>
              <a:ext uri="{FF2B5EF4-FFF2-40B4-BE49-F238E27FC236}">
                <a16:creationId xmlns:a16="http://schemas.microsoft.com/office/drawing/2014/main" id="{C7A8A9E9-53E7-CAF4-4CAC-31F63B2E935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-4018" y="0"/>
            <a:ext cx="12196017" cy="6858001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29404A4-47A7-E7C4-0A56-CA60C4C34A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-4018" y="0"/>
            <a:ext cx="12196017" cy="6858000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E1E86E8-D6DF-AA20-3BF4-097B26D38D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5E09024-86C2-D8D2-05E9-BB4065BCA75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B62D625-6327-C60A-C457-754D161ACDD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683447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Welco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7B055BB-1529-C50D-CBCF-F628B50B4C3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6" name="Picture 5" descr="A group of women hugging in a doorway&#10;&#10;Description automatically generated">
            <a:extLst>
              <a:ext uri="{FF2B5EF4-FFF2-40B4-BE49-F238E27FC236}">
                <a16:creationId xmlns:a16="http://schemas.microsoft.com/office/drawing/2014/main" id="{44F0A615-6D8F-D83D-B4CF-11D559B3F9D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" y="1"/>
            <a:ext cx="12192001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29404A4-47A7-E7C4-0A56-CA60C4C34A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-1"/>
            <a:ext cx="12191999" cy="6858000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E1E86E8-D6DF-AA20-3BF4-097B26D38D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5E09024-86C2-D8D2-05E9-BB4065BCA75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B62D625-6327-C60A-C457-754D161ACDD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087956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No Image,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E1BAD6FF-2C18-B6DE-7C43-6A3405FAC0C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11E7AB0-5A82-805E-31C3-ACFDAB4A47B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1F0B18E9-00FF-1497-33D7-6BAFFE7A140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784790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No Image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7CEBDDC6-21E8-07E3-5F83-CCE0FC6C6FE6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E1BAD6FF-2C18-B6DE-7C43-6A3405FAC0C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rgbClr val="000000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6C03CEC-3C11-D151-C389-E5C20874E43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  <p:pic>
        <p:nvPicPr>
          <p:cNvPr id="2" name="Picture 1" descr="Marketreach Logo">
            <a:extLst>
              <a:ext uri="{FF2B5EF4-FFF2-40B4-BE49-F238E27FC236}">
                <a16:creationId xmlns:a16="http://schemas.microsoft.com/office/drawing/2014/main" id="{20725AC2-C666-6A35-B249-2BA790DEA2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019173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Skatebo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DC8891A-1B49-7E81-A9D1-1CF8C21C789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2" name="Picture 1" descr="A person sitting on a skateboard with her arms outstretched&#10;&#10;Description automatically generated">
            <a:extLst>
              <a:ext uri="{FF2B5EF4-FFF2-40B4-BE49-F238E27FC236}">
                <a16:creationId xmlns:a16="http://schemas.microsoft.com/office/drawing/2014/main" id="{D39316BD-BF8E-85A5-A660-20126224871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7917D75-75C1-F88B-C3F0-40617987ED0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0"/>
            <a:ext cx="12207678" cy="68580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7CBDDB04-6D01-FF80-1980-FDD54FE0052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679F4426-A095-BFAB-0470-E4BBEB7BAE40}"/>
              </a:ext>
            </a:extLst>
          </p:cNvPr>
          <p:cNvSpPr txBox="1"/>
          <p:nvPr userDrawn="1"/>
        </p:nvSpPr>
        <p:spPr>
          <a:xfrm flipH="1" flipV="1">
            <a:off x="5724393" y="3626208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E6BB35E-3D3B-E87B-066F-3B97A26F8F78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EE6FB35-132C-405E-3A0C-C9A9249C786E}"/>
              </a:ext>
            </a:extLst>
          </p:cNvPr>
          <p:cNvCxnSpPr>
            <a:cxnSpLocks/>
          </p:cNvCxnSpPr>
          <p:nvPr userDrawn="1"/>
        </p:nvCxnSpPr>
        <p:spPr>
          <a:xfrm>
            <a:off x="1848187" y="1936205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D674EA6-27FD-7C7D-1475-E8244190EBC4}"/>
              </a:ext>
            </a:extLst>
          </p:cNvPr>
          <p:cNvCxnSpPr>
            <a:cxnSpLocks/>
          </p:cNvCxnSpPr>
          <p:nvPr userDrawn="1"/>
        </p:nvCxnSpPr>
        <p:spPr>
          <a:xfrm flipV="1">
            <a:off x="1848187" y="1920303"/>
            <a:ext cx="0" cy="3229213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43E2AA7-BAC6-23DA-8D55-0F03CADEF284}"/>
              </a:ext>
            </a:extLst>
          </p:cNvPr>
          <p:cNvCxnSpPr>
            <a:cxnSpLocks/>
          </p:cNvCxnSpPr>
          <p:nvPr userDrawn="1"/>
        </p:nvCxnSpPr>
        <p:spPr>
          <a:xfrm>
            <a:off x="1840236" y="5138228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8A5AB754-A131-147D-A9AE-576DDEC47CA3}"/>
              </a:ext>
            </a:extLst>
          </p:cNvPr>
          <p:cNvCxnSpPr>
            <a:cxnSpLocks/>
          </p:cNvCxnSpPr>
          <p:nvPr userDrawn="1"/>
        </p:nvCxnSpPr>
        <p:spPr>
          <a:xfrm>
            <a:off x="6518279" y="1936205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A0126DB2-3B30-46C2-416B-10616938F124}"/>
              </a:ext>
            </a:extLst>
          </p:cNvPr>
          <p:cNvCxnSpPr>
            <a:cxnSpLocks/>
          </p:cNvCxnSpPr>
          <p:nvPr userDrawn="1"/>
        </p:nvCxnSpPr>
        <p:spPr>
          <a:xfrm>
            <a:off x="6526230" y="5130683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D91CBE39-184A-A0B7-DA27-EF514D9D4FD1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4C596B23-43CF-DCD2-5325-27718AEB2FFE}"/>
              </a:ext>
            </a:extLst>
          </p:cNvPr>
          <p:cNvCxnSpPr>
            <a:cxnSpLocks/>
          </p:cNvCxnSpPr>
          <p:nvPr userDrawn="1"/>
        </p:nvCxnSpPr>
        <p:spPr>
          <a:xfrm flipV="1">
            <a:off x="10293709" y="1920303"/>
            <a:ext cx="0" cy="3217925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14D53B08-74AE-EB4C-6E5B-BBFFA0A06EF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79876" y="2298702"/>
            <a:ext cx="8173940" cy="2454252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here, in sentence case, without quotation marks. Quote here, in sentence case, without quotation marks. Quote here, in sentence case, without quotation marks.</a:t>
            </a:r>
          </a:p>
          <a:p>
            <a:pPr lvl="0"/>
            <a:endParaRPr lang="en-US" dirty="0"/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A6201096-4877-2A97-D8CA-CB0620EBC7C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18279" y="5257800"/>
            <a:ext cx="3775429" cy="329395"/>
          </a:xfrm>
          <a:prstGeom prst="rect">
            <a:avLst/>
          </a:prstGeom>
        </p:spPr>
        <p:txBody>
          <a:bodyPr anchor="ctr" anchorCtr="0"/>
          <a:lstStyle>
            <a:lvl1pPr marL="0" indent="0" algn="r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source or person’s name her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A65EEDA-90AC-B4A3-3819-1586981160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46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429832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DC8891A-1B49-7E81-A9D1-1CF8C21C789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2" name="Picture 1" descr="A close-up of a graph&#10;&#10;Description automatically generated">
            <a:extLst>
              <a:ext uri="{FF2B5EF4-FFF2-40B4-BE49-F238E27FC236}">
                <a16:creationId xmlns:a16="http://schemas.microsoft.com/office/drawing/2014/main" id="{B2C8C370-F749-841F-1670-8CF0F3341B2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207678" cy="6857999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7917D75-75C1-F88B-C3F0-40617987ED0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-5940"/>
            <a:ext cx="12207678" cy="686393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7CBDDB04-6D01-FF80-1980-FDD54FE0052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679F4426-A095-BFAB-0470-E4BBEB7BAE40}"/>
              </a:ext>
            </a:extLst>
          </p:cNvPr>
          <p:cNvSpPr txBox="1"/>
          <p:nvPr userDrawn="1"/>
        </p:nvSpPr>
        <p:spPr>
          <a:xfrm flipH="1" flipV="1">
            <a:off x="5724393" y="3626208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E6BB35E-3D3B-E87B-066F-3B97A26F8F78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EE6FB35-132C-405E-3A0C-C9A9249C786E}"/>
              </a:ext>
            </a:extLst>
          </p:cNvPr>
          <p:cNvCxnSpPr>
            <a:cxnSpLocks/>
          </p:cNvCxnSpPr>
          <p:nvPr userDrawn="1"/>
        </p:nvCxnSpPr>
        <p:spPr>
          <a:xfrm>
            <a:off x="1848187" y="1936205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D674EA6-27FD-7C7D-1475-E8244190EBC4}"/>
              </a:ext>
            </a:extLst>
          </p:cNvPr>
          <p:cNvCxnSpPr>
            <a:cxnSpLocks/>
          </p:cNvCxnSpPr>
          <p:nvPr userDrawn="1"/>
        </p:nvCxnSpPr>
        <p:spPr>
          <a:xfrm flipV="1">
            <a:off x="1848187" y="1920303"/>
            <a:ext cx="0" cy="3229213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43E2AA7-BAC6-23DA-8D55-0F03CADEF284}"/>
              </a:ext>
            </a:extLst>
          </p:cNvPr>
          <p:cNvCxnSpPr>
            <a:cxnSpLocks/>
          </p:cNvCxnSpPr>
          <p:nvPr userDrawn="1"/>
        </p:nvCxnSpPr>
        <p:spPr>
          <a:xfrm>
            <a:off x="1840236" y="5138228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8A5AB754-A131-147D-A9AE-576DDEC47CA3}"/>
              </a:ext>
            </a:extLst>
          </p:cNvPr>
          <p:cNvCxnSpPr>
            <a:cxnSpLocks/>
          </p:cNvCxnSpPr>
          <p:nvPr userDrawn="1"/>
        </p:nvCxnSpPr>
        <p:spPr>
          <a:xfrm>
            <a:off x="6518279" y="1936205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A0126DB2-3B30-46C2-416B-10616938F124}"/>
              </a:ext>
            </a:extLst>
          </p:cNvPr>
          <p:cNvCxnSpPr>
            <a:cxnSpLocks/>
          </p:cNvCxnSpPr>
          <p:nvPr userDrawn="1"/>
        </p:nvCxnSpPr>
        <p:spPr>
          <a:xfrm>
            <a:off x="6526230" y="5130683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D91CBE39-184A-A0B7-DA27-EF514D9D4FD1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4C596B23-43CF-DCD2-5325-27718AEB2FFE}"/>
              </a:ext>
            </a:extLst>
          </p:cNvPr>
          <p:cNvCxnSpPr>
            <a:cxnSpLocks/>
          </p:cNvCxnSpPr>
          <p:nvPr userDrawn="1"/>
        </p:nvCxnSpPr>
        <p:spPr>
          <a:xfrm flipV="1">
            <a:off x="10293709" y="1920303"/>
            <a:ext cx="0" cy="3217925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14D53B08-74AE-EB4C-6E5B-BBFFA0A06EF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79876" y="2298702"/>
            <a:ext cx="8173940" cy="2454252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here, in sentence case, without quotation marks. Quote here, in sentence case, without quotation marks. Quote here, in sentence case, without quotation marks.</a:t>
            </a:r>
          </a:p>
          <a:p>
            <a:pPr lvl="0"/>
            <a:endParaRPr lang="en-US" dirty="0"/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A6201096-4877-2A97-D8CA-CB0620EBC7C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18279" y="5257800"/>
            <a:ext cx="3775429" cy="329395"/>
          </a:xfrm>
          <a:prstGeom prst="rect">
            <a:avLst/>
          </a:prstGeom>
        </p:spPr>
        <p:txBody>
          <a:bodyPr anchor="ctr" anchorCtr="0"/>
          <a:lstStyle>
            <a:lvl1pPr marL="0" indent="0" algn="r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source or person’s name her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A65EEDA-90AC-B4A3-3819-1586981160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46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681153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Gro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DC8891A-1B49-7E81-A9D1-1CF8C21C789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2" name="Picture 1" descr="A group of people laughing while looking at a phone&#10;&#10;Description automatically generated">
            <a:extLst>
              <a:ext uri="{FF2B5EF4-FFF2-40B4-BE49-F238E27FC236}">
                <a16:creationId xmlns:a16="http://schemas.microsoft.com/office/drawing/2014/main" id="{5C084F28-5243-2540-6012-D6687E66AD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-11520"/>
            <a:ext cx="12192000" cy="6869519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7917D75-75C1-F88B-C3F0-40617987ED0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-1"/>
            <a:ext cx="12200682" cy="6869518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7CBDDB04-6D01-FF80-1980-FDD54FE0052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679F4426-A095-BFAB-0470-E4BBEB7BAE40}"/>
              </a:ext>
            </a:extLst>
          </p:cNvPr>
          <p:cNvSpPr txBox="1"/>
          <p:nvPr userDrawn="1"/>
        </p:nvSpPr>
        <p:spPr>
          <a:xfrm flipH="1" flipV="1">
            <a:off x="5724393" y="3626208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E6BB35E-3D3B-E87B-066F-3B97A26F8F78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EE6FB35-132C-405E-3A0C-C9A9249C786E}"/>
              </a:ext>
            </a:extLst>
          </p:cNvPr>
          <p:cNvCxnSpPr>
            <a:cxnSpLocks/>
          </p:cNvCxnSpPr>
          <p:nvPr userDrawn="1"/>
        </p:nvCxnSpPr>
        <p:spPr>
          <a:xfrm>
            <a:off x="1848187" y="1936205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D674EA6-27FD-7C7D-1475-E8244190EBC4}"/>
              </a:ext>
            </a:extLst>
          </p:cNvPr>
          <p:cNvCxnSpPr>
            <a:cxnSpLocks/>
          </p:cNvCxnSpPr>
          <p:nvPr userDrawn="1"/>
        </p:nvCxnSpPr>
        <p:spPr>
          <a:xfrm flipV="1">
            <a:off x="1848187" y="1920303"/>
            <a:ext cx="0" cy="3229213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43E2AA7-BAC6-23DA-8D55-0F03CADEF284}"/>
              </a:ext>
            </a:extLst>
          </p:cNvPr>
          <p:cNvCxnSpPr>
            <a:cxnSpLocks/>
          </p:cNvCxnSpPr>
          <p:nvPr userDrawn="1"/>
        </p:nvCxnSpPr>
        <p:spPr>
          <a:xfrm>
            <a:off x="1840236" y="5138228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8A5AB754-A131-147D-A9AE-576DDEC47CA3}"/>
              </a:ext>
            </a:extLst>
          </p:cNvPr>
          <p:cNvCxnSpPr>
            <a:cxnSpLocks/>
          </p:cNvCxnSpPr>
          <p:nvPr userDrawn="1"/>
        </p:nvCxnSpPr>
        <p:spPr>
          <a:xfrm>
            <a:off x="6518279" y="1936205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A0126DB2-3B30-46C2-416B-10616938F124}"/>
              </a:ext>
            </a:extLst>
          </p:cNvPr>
          <p:cNvCxnSpPr>
            <a:cxnSpLocks/>
          </p:cNvCxnSpPr>
          <p:nvPr userDrawn="1"/>
        </p:nvCxnSpPr>
        <p:spPr>
          <a:xfrm>
            <a:off x="6526230" y="5130683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D91CBE39-184A-A0B7-DA27-EF514D9D4FD1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4C596B23-43CF-DCD2-5325-27718AEB2FFE}"/>
              </a:ext>
            </a:extLst>
          </p:cNvPr>
          <p:cNvCxnSpPr>
            <a:cxnSpLocks/>
          </p:cNvCxnSpPr>
          <p:nvPr userDrawn="1"/>
        </p:nvCxnSpPr>
        <p:spPr>
          <a:xfrm flipV="1">
            <a:off x="10293709" y="1920303"/>
            <a:ext cx="0" cy="3217925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14D53B08-74AE-EB4C-6E5B-BBFFA0A06EF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79876" y="2298702"/>
            <a:ext cx="8173940" cy="2454252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here, in sentence case, without quotation marks. Quote here, in sentence case, without quotation marks. Quote here, in sentence case, without quotation marks.</a:t>
            </a:r>
          </a:p>
          <a:p>
            <a:pPr lvl="0"/>
            <a:endParaRPr lang="en-US" dirty="0"/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A6201096-4877-2A97-D8CA-CB0620EBC7C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18279" y="5257800"/>
            <a:ext cx="3775429" cy="329395"/>
          </a:xfrm>
          <a:prstGeom prst="rect">
            <a:avLst/>
          </a:prstGeom>
        </p:spPr>
        <p:txBody>
          <a:bodyPr anchor="ctr" anchorCtr="0"/>
          <a:lstStyle>
            <a:lvl1pPr marL="0" indent="0" algn="r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source or person’s name her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A65EEDA-90AC-B4A3-3819-1586981160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46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581242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Keybo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DC8891A-1B49-7E81-A9D1-1CF8C21C789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9" name="Picture 8" descr="A close-up of a keyboard&#10;&#10;Description automatically generated">
            <a:extLst>
              <a:ext uri="{FF2B5EF4-FFF2-40B4-BE49-F238E27FC236}">
                <a16:creationId xmlns:a16="http://schemas.microsoft.com/office/drawing/2014/main" id="{B16AC698-A3D4-7B74-453B-78192D0B61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207677" cy="68580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7917D75-75C1-F88B-C3F0-40617987ED0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-1" y="0"/>
            <a:ext cx="12207677" cy="68580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7CBDDB04-6D01-FF80-1980-FDD54FE0052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679F4426-A095-BFAB-0470-E4BBEB7BAE40}"/>
              </a:ext>
            </a:extLst>
          </p:cNvPr>
          <p:cNvSpPr txBox="1"/>
          <p:nvPr userDrawn="1"/>
        </p:nvSpPr>
        <p:spPr>
          <a:xfrm flipH="1" flipV="1">
            <a:off x="5724393" y="3626208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E6BB35E-3D3B-E87B-066F-3B97A26F8F78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EE6FB35-132C-405E-3A0C-C9A9249C786E}"/>
              </a:ext>
            </a:extLst>
          </p:cNvPr>
          <p:cNvCxnSpPr>
            <a:cxnSpLocks/>
          </p:cNvCxnSpPr>
          <p:nvPr userDrawn="1"/>
        </p:nvCxnSpPr>
        <p:spPr>
          <a:xfrm>
            <a:off x="1848187" y="1936205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D674EA6-27FD-7C7D-1475-E8244190EBC4}"/>
              </a:ext>
            </a:extLst>
          </p:cNvPr>
          <p:cNvCxnSpPr>
            <a:cxnSpLocks/>
          </p:cNvCxnSpPr>
          <p:nvPr userDrawn="1"/>
        </p:nvCxnSpPr>
        <p:spPr>
          <a:xfrm flipV="1">
            <a:off x="1848187" y="1920303"/>
            <a:ext cx="0" cy="3229213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43E2AA7-BAC6-23DA-8D55-0F03CADEF284}"/>
              </a:ext>
            </a:extLst>
          </p:cNvPr>
          <p:cNvCxnSpPr>
            <a:cxnSpLocks/>
          </p:cNvCxnSpPr>
          <p:nvPr userDrawn="1"/>
        </p:nvCxnSpPr>
        <p:spPr>
          <a:xfrm>
            <a:off x="1840236" y="5138228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8A5AB754-A131-147D-A9AE-576DDEC47CA3}"/>
              </a:ext>
            </a:extLst>
          </p:cNvPr>
          <p:cNvCxnSpPr>
            <a:cxnSpLocks/>
          </p:cNvCxnSpPr>
          <p:nvPr userDrawn="1"/>
        </p:nvCxnSpPr>
        <p:spPr>
          <a:xfrm>
            <a:off x="6518279" y="1936205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A0126DB2-3B30-46C2-416B-10616938F124}"/>
              </a:ext>
            </a:extLst>
          </p:cNvPr>
          <p:cNvCxnSpPr>
            <a:cxnSpLocks/>
          </p:cNvCxnSpPr>
          <p:nvPr userDrawn="1"/>
        </p:nvCxnSpPr>
        <p:spPr>
          <a:xfrm>
            <a:off x="6526230" y="5130683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D91CBE39-184A-A0B7-DA27-EF514D9D4FD1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4C596B23-43CF-DCD2-5325-27718AEB2FFE}"/>
              </a:ext>
            </a:extLst>
          </p:cNvPr>
          <p:cNvCxnSpPr>
            <a:cxnSpLocks/>
          </p:cNvCxnSpPr>
          <p:nvPr userDrawn="1"/>
        </p:nvCxnSpPr>
        <p:spPr>
          <a:xfrm flipV="1">
            <a:off x="10293709" y="1920303"/>
            <a:ext cx="0" cy="3217925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14D53B08-74AE-EB4C-6E5B-BBFFA0A06EF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79876" y="2298702"/>
            <a:ext cx="8173940" cy="2454252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here, in sentence case, without quotation marks. Quote here, in sentence case, without quotation marks. Quote here, in sentence case, without quotation marks.</a:t>
            </a:r>
          </a:p>
          <a:p>
            <a:pPr lvl="0"/>
            <a:endParaRPr lang="en-US" dirty="0"/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A6201096-4877-2A97-D8CA-CB0620EBC7C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18279" y="5257800"/>
            <a:ext cx="3775429" cy="329395"/>
          </a:xfrm>
          <a:prstGeom prst="rect">
            <a:avLst/>
          </a:prstGeom>
        </p:spPr>
        <p:txBody>
          <a:bodyPr anchor="ctr" anchorCtr="0"/>
          <a:lstStyle>
            <a:lvl1pPr marL="0" indent="0" algn="r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source or person’s name her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A65EEDA-90AC-B4A3-3819-1586981160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46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486323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No Image,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DC8891A-1B49-7E81-A9D1-1CF8C21C789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7CBDDB04-6D01-FF80-1980-FDD54FE0052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679F4426-A095-BFAB-0470-E4BBEB7BAE40}"/>
              </a:ext>
            </a:extLst>
          </p:cNvPr>
          <p:cNvSpPr txBox="1"/>
          <p:nvPr userDrawn="1"/>
        </p:nvSpPr>
        <p:spPr>
          <a:xfrm flipH="1" flipV="1">
            <a:off x="5724393" y="3626208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E6BB35E-3D3B-E87B-066F-3B97A26F8F78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EE6FB35-132C-405E-3A0C-C9A9249C786E}"/>
              </a:ext>
            </a:extLst>
          </p:cNvPr>
          <p:cNvCxnSpPr>
            <a:cxnSpLocks/>
          </p:cNvCxnSpPr>
          <p:nvPr userDrawn="1"/>
        </p:nvCxnSpPr>
        <p:spPr>
          <a:xfrm>
            <a:off x="1848187" y="1936205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D674EA6-27FD-7C7D-1475-E8244190EBC4}"/>
              </a:ext>
            </a:extLst>
          </p:cNvPr>
          <p:cNvCxnSpPr>
            <a:cxnSpLocks/>
          </p:cNvCxnSpPr>
          <p:nvPr userDrawn="1"/>
        </p:nvCxnSpPr>
        <p:spPr>
          <a:xfrm flipV="1">
            <a:off x="1848187" y="1920303"/>
            <a:ext cx="0" cy="3229213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43E2AA7-BAC6-23DA-8D55-0F03CADEF284}"/>
              </a:ext>
            </a:extLst>
          </p:cNvPr>
          <p:cNvCxnSpPr>
            <a:cxnSpLocks/>
          </p:cNvCxnSpPr>
          <p:nvPr userDrawn="1"/>
        </p:nvCxnSpPr>
        <p:spPr>
          <a:xfrm>
            <a:off x="1840236" y="5138228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8A5AB754-A131-147D-A9AE-576DDEC47CA3}"/>
              </a:ext>
            </a:extLst>
          </p:cNvPr>
          <p:cNvCxnSpPr>
            <a:cxnSpLocks/>
          </p:cNvCxnSpPr>
          <p:nvPr userDrawn="1"/>
        </p:nvCxnSpPr>
        <p:spPr>
          <a:xfrm>
            <a:off x="6518279" y="1936205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A0126DB2-3B30-46C2-416B-10616938F124}"/>
              </a:ext>
            </a:extLst>
          </p:cNvPr>
          <p:cNvCxnSpPr>
            <a:cxnSpLocks/>
          </p:cNvCxnSpPr>
          <p:nvPr userDrawn="1"/>
        </p:nvCxnSpPr>
        <p:spPr>
          <a:xfrm>
            <a:off x="6526230" y="5130683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D91CBE39-184A-A0B7-DA27-EF514D9D4FD1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4C596B23-43CF-DCD2-5325-27718AEB2FFE}"/>
              </a:ext>
            </a:extLst>
          </p:cNvPr>
          <p:cNvCxnSpPr>
            <a:cxnSpLocks/>
          </p:cNvCxnSpPr>
          <p:nvPr userDrawn="1"/>
        </p:nvCxnSpPr>
        <p:spPr>
          <a:xfrm flipV="1">
            <a:off x="10293709" y="1920303"/>
            <a:ext cx="0" cy="3217925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14D53B08-74AE-EB4C-6E5B-BBFFA0A06EF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79876" y="2298702"/>
            <a:ext cx="8173940" cy="2454252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here, in sentence case, without quotation marks. Quote here, in sentence case, without quotation marks. Quote here, in sentence case, without quotation marks.</a:t>
            </a:r>
          </a:p>
          <a:p>
            <a:pPr lvl="0"/>
            <a:endParaRPr lang="en-US" dirty="0"/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A6201096-4877-2A97-D8CA-CB0620EBC7C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18279" y="5257800"/>
            <a:ext cx="3775429" cy="329395"/>
          </a:xfrm>
          <a:prstGeom prst="rect">
            <a:avLst/>
          </a:prstGeom>
        </p:spPr>
        <p:txBody>
          <a:bodyPr anchor="ctr" anchorCtr="0"/>
          <a:lstStyle>
            <a:lvl1pPr marL="0" indent="0" algn="r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source or person’s name her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A65EEDA-90AC-B4A3-3819-1586981160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46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453166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No Image,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>
            <a:extLst>
              <a:ext uri="{FF2B5EF4-FFF2-40B4-BE49-F238E27FC236}">
                <a16:creationId xmlns:a16="http://schemas.microsoft.com/office/drawing/2014/main" id="{B7E58F1E-BE42-005F-61DA-303AF0C9384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4683" y="110507"/>
            <a:ext cx="1836000" cy="2431842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D9567541-6B89-459A-8389-EA678A028EED}"/>
              </a:ext>
            </a:extLst>
          </p:cNvPr>
          <p:cNvSpPr/>
          <p:nvPr userDrawn="1"/>
        </p:nvSpPr>
        <p:spPr>
          <a:xfrm>
            <a:off x="106326" y="6609810"/>
            <a:ext cx="1493186" cy="16313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B8EA749-2134-FC2B-483D-5BE450CD3A22}"/>
              </a:ext>
            </a:extLst>
          </p:cNvPr>
          <p:cNvSpPr txBox="1"/>
          <p:nvPr userDrawn="1"/>
        </p:nvSpPr>
        <p:spPr>
          <a:xfrm flipH="1" flipV="1">
            <a:off x="5724393" y="3626208"/>
            <a:ext cx="774571" cy="2215991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5C53A91-1C2E-7549-551D-F64DA266ECFB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B91F77CA-8475-8A83-5294-69CCAF54FD54}"/>
              </a:ext>
            </a:extLst>
          </p:cNvPr>
          <p:cNvCxnSpPr>
            <a:cxnSpLocks/>
          </p:cNvCxnSpPr>
          <p:nvPr userDrawn="1"/>
        </p:nvCxnSpPr>
        <p:spPr>
          <a:xfrm>
            <a:off x="1848187" y="1936205"/>
            <a:ext cx="3806655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DEC1E353-1A4A-567E-772B-1C8F3775DB4F}"/>
              </a:ext>
            </a:extLst>
          </p:cNvPr>
          <p:cNvCxnSpPr>
            <a:cxnSpLocks/>
          </p:cNvCxnSpPr>
          <p:nvPr userDrawn="1"/>
        </p:nvCxnSpPr>
        <p:spPr>
          <a:xfrm flipV="1">
            <a:off x="1848187" y="1920303"/>
            <a:ext cx="0" cy="3229213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4FD84219-E493-B6AB-9472-604A6059B963}"/>
              </a:ext>
            </a:extLst>
          </p:cNvPr>
          <p:cNvCxnSpPr>
            <a:cxnSpLocks/>
          </p:cNvCxnSpPr>
          <p:nvPr userDrawn="1"/>
        </p:nvCxnSpPr>
        <p:spPr>
          <a:xfrm>
            <a:off x="1840236" y="5138228"/>
            <a:ext cx="3806655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B137C3FA-4087-AD74-949D-725DD73C51FD}"/>
              </a:ext>
            </a:extLst>
          </p:cNvPr>
          <p:cNvCxnSpPr>
            <a:cxnSpLocks/>
          </p:cNvCxnSpPr>
          <p:nvPr userDrawn="1"/>
        </p:nvCxnSpPr>
        <p:spPr>
          <a:xfrm>
            <a:off x="6518279" y="1936205"/>
            <a:ext cx="3775430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7FF4872E-9A1A-0972-CF8B-3C85AD9E64C0}"/>
              </a:ext>
            </a:extLst>
          </p:cNvPr>
          <p:cNvCxnSpPr>
            <a:cxnSpLocks/>
          </p:cNvCxnSpPr>
          <p:nvPr userDrawn="1"/>
        </p:nvCxnSpPr>
        <p:spPr>
          <a:xfrm>
            <a:off x="6526230" y="5130683"/>
            <a:ext cx="3775430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E4DEB20A-F436-3145-CDBC-7DAD4055765D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DFC9E597-0002-1174-B578-B963D49FD974}"/>
              </a:ext>
            </a:extLst>
          </p:cNvPr>
          <p:cNvCxnSpPr>
            <a:cxnSpLocks/>
          </p:cNvCxnSpPr>
          <p:nvPr userDrawn="1"/>
        </p:nvCxnSpPr>
        <p:spPr>
          <a:xfrm flipV="1">
            <a:off x="10293709" y="1920303"/>
            <a:ext cx="0" cy="3217925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628D924D-92B0-ED7F-50C5-E896DD6A817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79876" y="2298702"/>
            <a:ext cx="8173940" cy="245425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here, in sentence case, without quotation marks. Quote here, in sentence case, without quotation marks. Quote here, in sentence case, without quotation marks.</a:t>
            </a:r>
          </a:p>
          <a:p>
            <a:pPr lvl="0"/>
            <a:endParaRPr lang="en-US" dirty="0"/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C23DE9BE-169D-B8FD-00E2-97B30656326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18279" y="5257800"/>
            <a:ext cx="3775429" cy="329395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anchor="ctr" anchorCtr="0"/>
          <a:lstStyle>
            <a:lvl1pPr marL="0" indent="0" algn="r">
              <a:buNone/>
              <a:defRPr sz="1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source or person’s name here</a:t>
            </a:r>
          </a:p>
        </p:txBody>
      </p:sp>
      <p:pic>
        <p:nvPicPr>
          <p:cNvPr id="2" name="Picture 1" descr="Marketreach Logo">
            <a:extLst>
              <a:ext uri="{FF2B5EF4-FFF2-40B4-BE49-F238E27FC236}">
                <a16:creationId xmlns:a16="http://schemas.microsoft.com/office/drawing/2014/main" id="{0F0FB253-7CB9-CC74-6108-34DD2E03804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672093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Rock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7" name="Picture 6" descr="A person carrying a child on his shoulders&#10;&#10;Description automatically generated">
            <a:extLst>
              <a:ext uri="{FF2B5EF4-FFF2-40B4-BE49-F238E27FC236}">
                <a16:creationId xmlns:a16="http://schemas.microsoft.com/office/drawing/2014/main" id="{E11396B2-978D-E846-6727-E0680EDA7C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-3793"/>
            <a:ext cx="12201228" cy="6857999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B53D7E9-E6A4-2A07-329F-6B4F90A81E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85"/>
          <a:stretch/>
        </p:blipFill>
        <p:spPr>
          <a:xfrm>
            <a:off x="0" y="-3792"/>
            <a:ext cx="12215242" cy="6865586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9D21407-9DE8-879F-B4E6-3ACBC100B5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pic>
        <p:nvPicPr>
          <p:cNvPr id="9" name="Picture 8" descr="Marketreach Logo">
            <a:extLst>
              <a:ext uri="{FF2B5EF4-FFF2-40B4-BE49-F238E27FC236}">
                <a16:creationId xmlns:a16="http://schemas.microsoft.com/office/drawing/2014/main" id="{465AEAE4-055E-5438-6914-E0F5EA63BC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  <p:sp>
        <p:nvSpPr>
          <p:cNvPr id="6" name="Title 3">
            <a:extLst>
              <a:ext uri="{FF2B5EF4-FFF2-40B4-BE49-F238E27FC236}">
                <a16:creationId xmlns:a16="http://schemas.microsoft.com/office/drawing/2014/main" id="{2D5759CB-E0F3-21AE-5869-DD3E0AC300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9309828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, UPPER CASE</a:t>
            </a:r>
            <a:endParaRPr lang="en-US" dirty="0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E6AA415C-1070-2553-E822-9B87D335123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922637"/>
            <a:ext cx="9214895" cy="2338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, sentence case</a:t>
            </a:r>
          </a:p>
        </p:txBody>
      </p:sp>
      <p:sp>
        <p:nvSpPr>
          <p:cNvPr id="10" name="Text Placeholder 37">
            <a:extLst>
              <a:ext uri="{FF2B5EF4-FFF2-40B4-BE49-F238E27FC236}">
                <a16:creationId xmlns:a16="http://schemas.microsoft.com/office/drawing/2014/main" id="{91108AA1-0A1F-B944-AA04-34C1C2806A7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314843"/>
            <a:ext cx="9214895" cy="21341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2433457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, Jo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535B4B3-547C-4CA0-9C86-6C8E2CDAE568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6" name="Picture 5" descr="A person lying on the floor with her hand over her mouth&#10;&#10;Description automatically generated">
            <a:extLst>
              <a:ext uri="{FF2B5EF4-FFF2-40B4-BE49-F238E27FC236}">
                <a16:creationId xmlns:a16="http://schemas.microsoft.com/office/drawing/2014/main" id="{62B3D5CD-537F-93EF-2D7A-F5FE184E268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5660D80-D41D-4B6B-944D-D6E223EEE2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8683" y="0"/>
            <a:ext cx="12192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511B51B-64B7-1544-A700-5EABFE3561A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105E8E4-7741-47D8-84CE-F7C4DCDE00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3057" y="1733550"/>
            <a:ext cx="9005887" cy="33909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“Statement here, sentence case, with or without quotation marks.”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CAA1E91-7A8F-AB9D-C4FF-87EFCF5EEBA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46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98998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, Selfi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535B4B3-547C-4CA0-9C86-6C8E2CDAE568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3" name="Picture 2" descr="A couple of people taking a selfie&#10;&#10;Description automatically generated">
            <a:extLst>
              <a:ext uri="{FF2B5EF4-FFF2-40B4-BE49-F238E27FC236}">
                <a16:creationId xmlns:a16="http://schemas.microsoft.com/office/drawing/2014/main" id="{5F687EFD-9136-A143-2913-E317FDABBD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5660D80-D41D-4B6B-944D-D6E223EEE2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-732" y="0"/>
            <a:ext cx="12192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511B51B-64B7-1544-A700-5EABFE3561A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105E8E4-7741-47D8-84CE-F7C4DCDE00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3057" y="1733550"/>
            <a:ext cx="9005887" cy="33909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“Statement here, sentence case, with or without quotation marks.”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CAA1E91-7A8F-AB9D-C4FF-87EFCF5EEBA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6732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4497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, Tre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535B4B3-547C-4CA0-9C86-6C8E2CDAE568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6" name="Picture 5" descr="A child reaching out to touch a tree&#10;&#10;Description automatically generated">
            <a:extLst>
              <a:ext uri="{FF2B5EF4-FFF2-40B4-BE49-F238E27FC236}">
                <a16:creationId xmlns:a16="http://schemas.microsoft.com/office/drawing/2014/main" id="{74744EF0-BCC8-B882-9BA2-17FB6F1BA22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5660D80-D41D-4B6B-944D-D6E223EEE2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511B51B-64B7-1544-A700-5EABFE3561A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105E8E4-7741-47D8-84CE-F7C4DCDE00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3057" y="1733550"/>
            <a:ext cx="9005887" cy="33909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“Statement here, sentence case, with or without quotation marks.”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CAA1E91-7A8F-AB9D-C4FF-87EFCF5EEBA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6732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51532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, Typing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535B4B3-547C-4CA0-9C86-6C8E2CDAE568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6" name="Picture 5" descr="A person typing on a computer&#10;&#10;Description automatically generated">
            <a:extLst>
              <a:ext uri="{FF2B5EF4-FFF2-40B4-BE49-F238E27FC236}">
                <a16:creationId xmlns:a16="http://schemas.microsoft.com/office/drawing/2014/main" id="{7F0C4A4A-49DC-834D-AC3F-A56C4F6DFC0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4017" y="0"/>
            <a:ext cx="12200766" cy="687325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5660D80-D41D-4B6B-944D-D6E223EEE2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-4018" y="1"/>
            <a:ext cx="12200766" cy="687325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511B51B-64B7-1544-A700-5EABFE3561A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105E8E4-7741-47D8-84CE-F7C4DCDE00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3057" y="1733550"/>
            <a:ext cx="9005887" cy="33909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“Statement here, sentence case, with or without quotation marks.”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CAA1E91-7A8F-AB9D-C4FF-87EFCF5EEBA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10195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, No Image,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6F284D-C198-8A4A-6135-E882F78B6B8B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13C3B88-18EA-77F2-68A1-373076526BE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AD3BB1AE-05EB-FFE4-B958-9E536EE9EFB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F385E8B7-6F34-8B37-FBC0-FA5FA2BBE9B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3057" y="1733550"/>
            <a:ext cx="9005887" cy="33909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“Statement here, sentence case, with or without quotation marks.”</a:t>
            </a:r>
          </a:p>
        </p:txBody>
      </p:sp>
    </p:spTree>
    <p:extLst>
      <p:ext uri="{BB962C8B-B14F-4D97-AF65-F5344CB8AC3E}">
        <p14:creationId xmlns:p14="http://schemas.microsoft.com/office/powerpoint/2010/main" val="182350911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, No Inage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88680EE-E3CF-C6C2-CB48-58D3A2AED3EE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82C136E-16D2-0EF9-3E60-896BD8308D5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DF2FF778-7697-6DD7-DD59-A5CDAA0E192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3057" y="1733550"/>
            <a:ext cx="9005887" cy="33909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“Statement here, sentence case, with or without quotation marks.”</a:t>
            </a:r>
          </a:p>
        </p:txBody>
      </p:sp>
      <p:pic>
        <p:nvPicPr>
          <p:cNvPr id="2" name="Picture 1" descr="Marketreach Logo">
            <a:extLst>
              <a:ext uri="{FF2B5EF4-FFF2-40B4-BE49-F238E27FC236}">
                <a16:creationId xmlns:a16="http://schemas.microsoft.com/office/drawing/2014/main" id="{AFABC617-4291-C37A-B122-59D4A21987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45210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545D803-1BF7-40EA-AC91-081933E6A3B1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24141" y="1779739"/>
            <a:ext cx="5452876" cy="4423132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B1A7618-3887-4838-98CE-FDFA033A94BE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41B46AD-0363-49D0-9A55-12F4487A17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-ONLY slide, 2 columns</a:t>
            </a:r>
            <a:endParaRPr lang="en-GB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BC9C4766-C987-4787-8811-9BA501FABE58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6279757" y="1779739"/>
            <a:ext cx="5452876" cy="4423132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4C3C18F-C2F7-F6FB-2CA1-32B696DEE3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6" name="Slide Number Placeholder 1">
            <a:extLst>
              <a:ext uri="{FF2B5EF4-FFF2-40B4-BE49-F238E27FC236}">
                <a16:creationId xmlns:a16="http://schemas.microsoft.com/office/drawing/2014/main" id="{E34D61CE-B03E-894A-D61E-D31C888307D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19CB51C3-B144-48BC-390F-EC5617C2D7F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pic>
        <p:nvPicPr>
          <p:cNvPr id="2" name="Picture 1" descr="Marketreach Logo">
            <a:extLst>
              <a:ext uri="{FF2B5EF4-FFF2-40B4-BE49-F238E27FC236}">
                <a16:creationId xmlns:a16="http://schemas.microsoft.com/office/drawing/2014/main" id="{B011B905-DED4-9890-3913-569F0D294D0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AFF65AB8-AD4B-F6C6-3699-181B7020A03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40867373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R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5D77039F-4547-B64C-9F4A-B0B616043C0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0"/>
            <a:ext cx="6105655" cy="68580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insert imag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CE82FAA-2779-4023-94E9-577DEB0536F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95D6172-C0E9-4E3B-8F0F-CAA09AEA13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6000" y="377055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Image Right, 2 columns</a:t>
            </a:r>
            <a:endParaRPr lang="en-GB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87AF0242-6BDB-4BD8-A348-BBFF21B1E015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24142" y="1779739"/>
            <a:ext cx="5276850" cy="4479925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2" name="Picture 1" descr="Marketreach Logo">
            <a:extLst>
              <a:ext uri="{FF2B5EF4-FFF2-40B4-BE49-F238E27FC236}">
                <a16:creationId xmlns:a16="http://schemas.microsoft.com/office/drawing/2014/main" id="{8CB4004A-0774-9F68-17C4-398589D6E6D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888BEAD9-9CB8-754F-DD5A-9E4036001B6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12166142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Right, Leave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9CE82FAA-2779-4023-94E9-577DEB0536F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95D6172-C0E9-4E3B-8F0F-CAA09AEA13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6000" y="377055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Image Right, 2 columns</a:t>
            </a:r>
            <a:endParaRPr lang="en-GB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87AF0242-6BDB-4BD8-A348-BBFF21B1E015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24142" y="1779739"/>
            <a:ext cx="5276850" cy="4479925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4" name="Picture 3" descr="A close-up of a tree&#10;&#10;Description automatically generated">
            <a:extLst>
              <a:ext uri="{FF2B5EF4-FFF2-40B4-BE49-F238E27FC236}">
                <a16:creationId xmlns:a16="http://schemas.microsoft.com/office/drawing/2014/main" id="{EDD2A056-5B1B-049B-DA50-3D7FB69ED7A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0" y="0"/>
            <a:ext cx="6096000" cy="68580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70C6CDD1-A880-79CA-B91B-6B58E13BE0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  <p:pic>
        <p:nvPicPr>
          <p:cNvPr id="2" name="Picture 1" descr="Marketreach Logo">
            <a:extLst>
              <a:ext uri="{FF2B5EF4-FFF2-40B4-BE49-F238E27FC236}">
                <a16:creationId xmlns:a16="http://schemas.microsoft.com/office/drawing/2014/main" id="{5B804615-3677-3B68-B831-34621A05F19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18F97505-45A9-0A8C-5236-18B49815FD4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40835142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Right, Reading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person holding a stack of papers&#10;&#10;Description automatically generated">
            <a:extLst>
              <a:ext uri="{FF2B5EF4-FFF2-40B4-BE49-F238E27FC236}">
                <a16:creationId xmlns:a16="http://schemas.microsoft.com/office/drawing/2014/main" id="{55FCA34E-D4EB-0ACE-A525-765EC644E5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1" y="0"/>
            <a:ext cx="6096000" cy="6857999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9CE82FAA-2779-4023-94E9-577DEB0536F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95D6172-C0E9-4E3B-8F0F-CAA09AEA13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6000" y="377055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Image Right, 2 columns</a:t>
            </a:r>
            <a:endParaRPr lang="en-GB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87AF0242-6BDB-4BD8-A348-BBFF21B1E015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24142" y="1779739"/>
            <a:ext cx="5276850" cy="4479925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0C6CDD1-A880-79CA-B91B-6B58E13BE0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2616" y="110507"/>
            <a:ext cx="1836000" cy="2431842"/>
          </a:xfrm>
          <a:prstGeom prst="rect">
            <a:avLst/>
          </a:prstGeom>
        </p:spPr>
      </p:pic>
      <p:pic>
        <p:nvPicPr>
          <p:cNvPr id="2" name="Picture 1" descr="Marketreach Logo">
            <a:extLst>
              <a:ext uri="{FF2B5EF4-FFF2-40B4-BE49-F238E27FC236}">
                <a16:creationId xmlns:a16="http://schemas.microsoft.com/office/drawing/2014/main" id="{22E8753F-B9AA-B56B-5C17-46F5CEBE9DF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6039CC3-B85A-CD5D-2940-0D9115B1776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26856489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Hous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7" name="Picture 6" descr="A row of colorful houses&#10;&#10;Description automatically generated">
            <a:extLst>
              <a:ext uri="{FF2B5EF4-FFF2-40B4-BE49-F238E27FC236}">
                <a16:creationId xmlns:a16="http://schemas.microsoft.com/office/drawing/2014/main" id="{8EC0BCA7-E2C9-A700-89E2-A057F988D91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4374"/>
            <a:ext cx="12192000" cy="685770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B53D7E9-E6A4-2A07-329F-6B4F90A81E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13"/>
          <a:stretch/>
        </p:blipFill>
        <p:spPr>
          <a:xfrm>
            <a:off x="0" y="0"/>
            <a:ext cx="12211770" cy="685799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9D21407-9DE8-879F-B4E6-3ACBC100B5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pic>
        <p:nvPicPr>
          <p:cNvPr id="9" name="Picture 8" descr="Marketreach Logo">
            <a:extLst>
              <a:ext uri="{FF2B5EF4-FFF2-40B4-BE49-F238E27FC236}">
                <a16:creationId xmlns:a16="http://schemas.microsoft.com/office/drawing/2014/main" id="{465AEAE4-055E-5438-6914-E0F5EA63BC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  <p:sp>
        <p:nvSpPr>
          <p:cNvPr id="6" name="Title 3">
            <a:extLst>
              <a:ext uri="{FF2B5EF4-FFF2-40B4-BE49-F238E27FC236}">
                <a16:creationId xmlns:a16="http://schemas.microsoft.com/office/drawing/2014/main" id="{BFD3053F-5558-BD67-AA8E-D2AF137FD6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9309828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, UPPER CASE</a:t>
            </a:r>
            <a:endParaRPr lang="en-US" dirty="0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82E6DDC2-744E-08E6-97D5-2B83035F8E9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922637"/>
            <a:ext cx="9214895" cy="2338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, sentence case</a:t>
            </a:r>
          </a:p>
        </p:txBody>
      </p:sp>
      <p:sp>
        <p:nvSpPr>
          <p:cNvPr id="10" name="Text Placeholder 37">
            <a:extLst>
              <a:ext uri="{FF2B5EF4-FFF2-40B4-BE49-F238E27FC236}">
                <a16:creationId xmlns:a16="http://schemas.microsoft.com/office/drawing/2014/main" id="{B97EBEBA-92EF-4B0E-BEFA-41E77572C7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314843"/>
            <a:ext cx="9214895" cy="21341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9106358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5D77039F-4547-B64C-9F4A-B0B616043C0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6096003" cy="68580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insert imag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57EC939-1D4E-4164-AADE-06DCD3187AB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B80E9B2-1ED7-480C-8C84-9C622309FE7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0213"/>
            <a:ext cx="583849" cy="362932"/>
          </a:xfrm>
          <a:prstGeom prst="rect">
            <a:avLst/>
          </a:prstGeom>
        </p:spPr>
      </p:pic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B3168C22-ABDD-4158-AE3B-9D09F0F66457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480112" y="1783200"/>
            <a:ext cx="5276850" cy="4479925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D74DB94D-4B52-907D-BB5E-4BC6326060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33277" y="377055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Image Right, 2 columns</a:t>
            </a:r>
            <a:endParaRPr lang="en-GB" dirty="0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2D6EEFA5-F76B-91AF-8EEB-9041F1C6CFE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483097" y="6363979"/>
            <a:ext cx="4680000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41790923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, Reading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57EC939-1D4E-4164-AADE-06DCD3187AB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B3168C22-ABDD-4158-AE3B-9D09F0F66457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480112" y="1783200"/>
            <a:ext cx="5276850" cy="4479925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D74DB94D-4B52-907D-BB5E-4BC6326060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33277" y="377055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Image Right, 2 columns</a:t>
            </a:r>
            <a:endParaRPr lang="en-GB" dirty="0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2D6EEFA5-F76B-91AF-8EEB-9041F1C6CFE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483097" y="6363979"/>
            <a:ext cx="4680000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0F10CF9-87BA-BE1D-2919-600FB43B63C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984" y="1"/>
            <a:ext cx="6096003" cy="685934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2B80E9B2-1ED7-480C-8C84-9C622309FE7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0213"/>
            <a:ext cx="583849" cy="36293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87CC389-977C-B54D-2B2B-16085ACEDA0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095" r="1"/>
          <a:stretch/>
        </p:blipFill>
        <p:spPr>
          <a:xfrm>
            <a:off x="7094" y="109908"/>
            <a:ext cx="1838585" cy="24324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09590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, Targe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A target on a stand in a field&#10;&#10;Description automatically generated">
            <a:extLst>
              <a:ext uri="{FF2B5EF4-FFF2-40B4-BE49-F238E27FC236}">
                <a16:creationId xmlns:a16="http://schemas.microsoft.com/office/drawing/2014/main" id="{E09E114B-6E22-6D01-0E76-FBAAB2B7259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6093020" cy="6858000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57EC939-1D4E-4164-AADE-06DCD3187AB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B3168C22-ABDD-4158-AE3B-9D09F0F66457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480112" y="1783200"/>
            <a:ext cx="5276850" cy="4479925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D74DB94D-4B52-907D-BB5E-4BC6326060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33277" y="377055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Image Right, 2 columns</a:t>
            </a:r>
            <a:endParaRPr lang="en-GB" dirty="0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2D6EEFA5-F76B-91AF-8EEB-9041F1C6CFE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483097" y="6363979"/>
            <a:ext cx="4680000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B80E9B2-1ED7-480C-8C84-9C622309FE7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0213"/>
            <a:ext cx="583849" cy="36293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87CC389-977C-B54D-2B2B-16085ACEDA0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095" r="1"/>
          <a:stretch/>
        </p:blipFill>
        <p:spPr>
          <a:xfrm>
            <a:off x="7094" y="109908"/>
            <a:ext cx="1838585" cy="24324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59736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St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9E337FF-EC20-FC4E-A512-80CDE51F4AC9}"/>
              </a:ext>
            </a:extLst>
          </p:cNvPr>
          <p:cNvSpPr/>
          <p:nvPr userDrawn="1"/>
        </p:nvSpPr>
        <p:spPr>
          <a:xfrm>
            <a:off x="1065230" y="2016563"/>
            <a:ext cx="3178125" cy="416121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3081F068-E853-4A4F-9EFD-B29B742822A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49785" y="2016564"/>
            <a:ext cx="3009014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41" name="Text Placeholder 40">
            <a:extLst>
              <a:ext uri="{FF2B5EF4-FFF2-40B4-BE49-F238E27FC236}">
                <a16:creationId xmlns:a16="http://schemas.microsoft.com/office/drawing/2014/main" id="{6E092A17-E78C-9740-AB28-68C7E769D4D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149785" y="3191398"/>
            <a:ext cx="3009014" cy="2911690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3D576F0-DC67-4F7A-A308-E8A231AB271D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AC7D8C70-D8D3-4616-8AD6-B7531CA662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Process, 3 stages</a:t>
            </a:r>
            <a:endParaRPr lang="en-GB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A8863C8E-9F0F-4046-A264-6A18A57D022C}"/>
              </a:ext>
            </a:extLst>
          </p:cNvPr>
          <p:cNvSpPr/>
          <p:nvPr userDrawn="1"/>
        </p:nvSpPr>
        <p:spPr>
          <a:xfrm>
            <a:off x="4500922" y="2016563"/>
            <a:ext cx="3178125" cy="416121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2A3E954C-0710-40FA-98A2-EB54FBFAE9A0}"/>
              </a:ext>
            </a:extLst>
          </p:cNvPr>
          <p:cNvSpPr/>
          <p:nvPr userDrawn="1"/>
        </p:nvSpPr>
        <p:spPr>
          <a:xfrm>
            <a:off x="7936614" y="2016563"/>
            <a:ext cx="3178125" cy="416121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Text Placeholder 35">
            <a:extLst>
              <a:ext uri="{FF2B5EF4-FFF2-40B4-BE49-F238E27FC236}">
                <a16:creationId xmlns:a16="http://schemas.microsoft.com/office/drawing/2014/main" id="{F763D85A-53EF-21E0-AE8D-8387C9A8676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021169" y="2016564"/>
            <a:ext cx="3009014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5" name="Text Placeholder 35">
            <a:extLst>
              <a:ext uri="{FF2B5EF4-FFF2-40B4-BE49-F238E27FC236}">
                <a16:creationId xmlns:a16="http://schemas.microsoft.com/office/drawing/2014/main" id="{B4BE02F9-0984-31D3-FB53-BAE64616F9F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85477" y="2016564"/>
            <a:ext cx="3009014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6" name="Text Placeholder 40">
            <a:extLst>
              <a:ext uri="{FF2B5EF4-FFF2-40B4-BE49-F238E27FC236}">
                <a16:creationId xmlns:a16="http://schemas.microsoft.com/office/drawing/2014/main" id="{7205860A-8A37-A13F-D556-FEF702702A3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585477" y="3191398"/>
            <a:ext cx="3009014" cy="2911690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7" name="Text Placeholder 40">
            <a:extLst>
              <a:ext uri="{FF2B5EF4-FFF2-40B4-BE49-F238E27FC236}">
                <a16:creationId xmlns:a16="http://schemas.microsoft.com/office/drawing/2014/main" id="{08E500C8-CDAC-8D97-2991-BE727CA62AF7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021169" y="3191398"/>
            <a:ext cx="3009014" cy="2911690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9" name="Slide Number Placeholder 1">
            <a:extLst>
              <a:ext uri="{FF2B5EF4-FFF2-40B4-BE49-F238E27FC236}">
                <a16:creationId xmlns:a16="http://schemas.microsoft.com/office/drawing/2014/main" id="{7A7D0FF3-0A47-41C5-12E1-5A525BD2722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64E14BF-8B23-28F5-583B-ECDEF02940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32CCA124-1025-BAA2-C889-03963E028AD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pic>
        <p:nvPicPr>
          <p:cNvPr id="10" name="Picture 9" descr="Marketreach Logo">
            <a:extLst>
              <a:ext uri="{FF2B5EF4-FFF2-40B4-BE49-F238E27FC236}">
                <a16:creationId xmlns:a16="http://schemas.microsoft.com/office/drawing/2014/main" id="{7636FC22-BE0F-8D27-97BB-85FC1C76CB2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8266B453-DF27-16A7-09CE-C1004E22ECB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68756567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St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Rectangle 53">
            <a:extLst>
              <a:ext uri="{FF2B5EF4-FFF2-40B4-BE49-F238E27FC236}">
                <a16:creationId xmlns:a16="http://schemas.microsoft.com/office/drawing/2014/main" id="{C5413A5D-B0DB-4840-A6F5-293DCA8C23D9}"/>
              </a:ext>
            </a:extLst>
          </p:cNvPr>
          <p:cNvSpPr/>
          <p:nvPr userDrawn="1"/>
        </p:nvSpPr>
        <p:spPr>
          <a:xfrm>
            <a:off x="479259" y="2002478"/>
            <a:ext cx="2572799" cy="397783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8547ACD3-9D3A-184E-A273-6B9AD0E17160}"/>
              </a:ext>
            </a:extLst>
          </p:cNvPr>
          <p:cNvSpPr/>
          <p:nvPr userDrawn="1"/>
        </p:nvSpPr>
        <p:spPr>
          <a:xfrm>
            <a:off x="3361659" y="2002478"/>
            <a:ext cx="2572799" cy="397783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83B1937D-5E8B-4442-A129-2CC064F9A1E0}"/>
              </a:ext>
            </a:extLst>
          </p:cNvPr>
          <p:cNvSpPr/>
          <p:nvPr userDrawn="1"/>
        </p:nvSpPr>
        <p:spPr>
          <a:xfrm>
            <a:off x="6244059" y="2002478"/>
            <a:ext cx="2572799" cy="397783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A375A71-02A2-4AE6-9C69-5955E9F54FC6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4D82E014-C022-4946-BD0C-5DFBBCBF63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Process, 4 stages</a:t>
            </a:r>
            <a:endParaRPr lang="en-GB" dirty="0"/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6DA0BE2C-2F41-C94A-99E2-9E9C8539EC62}"/>
              </a:ext>
            </a:extLst>
          </p:cNvPr>
          <p:cNvSpPr/>
          <p:nvPr userDrawn="1"/>
        </p:nvSpPr>
        <p:spPr>
          <a:xfrm>
            <a:off x="9133199" y="2002478"/>
            <a:ext cx="2572799" cy="399192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ext Placeholder 35">
            <a:extLst>
              <a:ext uri="{FF2B5EF4-FFF2-40B4-BE49-F238E27FC236}">
                <a16:creationId xmlns:a16="http://schemas.microsoft.com/office/drawing/2014/main" id="{E3A1F728-6770-25C5-FFE3-6210F850318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26301" y="2089041"/>
            <a:ext cx="2478714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5" name="Text Placeholder 40">
            <a:extLst>
              <a:ext uri="{FF2B5EF4-FFF2-40B4-BE49-F238E27FC236}">
                <a16:creationId xmlns:a16="http://schemas.microsoft.com/office/drawing/2014/main" id="{17A79DCA-9E7C-15E0-0180-D999B7F86F0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26301" y="3208683"/>
            <a:ext cx="2478714" cy="2703764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6" name="Text Placeholder 35">
            <a:extLst>
              <a:ext uri="{FF2B5EF4-FFF2-40B4-BE49-F238E27FC236}">
                <a16:creationId xmlns:a16="http://schemas.microsoft.com/office/drawing/2014/main" id="{703FF1C4-9C5B-35BA-15F7-F494998BFEC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08701" y="2089041"/>
            <a:ext cx="2478714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7" name="Text Placeholder 40">
            <a:extLst>
              <a:ext uri="{FF2B5EF4-FFF2-40B4-BE49-F238E27FC236}">
                <a16:creationId xmlns:a16="http://schemas.microsoft.com/office/drawing/2014/main" id="{189ED043-4BA4-C358-3565-37D485B1DA1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408701" y="3208683"/>
            <a:ext cx="2478714" cy="2703764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8" name="Text Placeholder 35">
            <a:extLst>
              <a:ext uri="{FF2B5EF4-FFF2-40B4-BE49-F238E27FC236}">
                <a16:creationId xmlns:a16="http://schemas.microsoft.com/office/drawing/2014/main" id="{4E3D54FB-EB18-FB2D-F9F6-5D64A2A4FBD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291101" y="2089041"/>
            <a:ext cx="2478714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9" name="Text Placeholder 40">
            <a:extLst>
              <a:ext uri="{FF2B5EF4-FFF2-40B4-BE49-F238E27FC236}">
                <a16:creationId xmlns:a16="http://schemas.microsoft.com/office/drawing/2014/main" id="{6836EF55-6585-788F-B51D-48201A4CDFD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291101" y="3208683"/>
            <a:ext cx="2478714" cy="2703764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10" name="Text Placeholder 35">
            <a:extLst>
              <a:ext uri="{FF2B5EF4-FFF2-40B4-BE49-F238E27FC236}">
                <a16:creationId xmlns:a16="http://schemas.microsoft.com/office/drawing/2014/main" id="{2968FC7C-6951-F5D0-B657-188AACFBB25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80241" y="2089041"/>
            <a:ext cx="2478714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11" name="Text Placeholder 40">
            <a:extLst>
              <a:ext uri="{FF2B5EF4-FFF2-40B4-BE49-F238E27FC236}">
                <a16:creationId xmlns:a16="http://schemas.microsoft.com/office/drawing/2014/main" id="{01D857A3-4772-5303-7576-9C5BB1E17CB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180241" y="3208683"/>
            <a:ext cx="2478714" cy="2703764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12" name="Slide Number Placeholder 1">
            <a:extLst>
              <a:ext uri="{FF2B5EF4-FFF2-40B4-BE49-F238E27FC236}">
                <a16:creationId xmlns:a16="http://schemas.microsoft.com/office/drawing/2014/main" id="{E7CF7048-8534-8655-8968-7260CFD020A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299368AE-7CC1-7071-A02A-9D2A09DA428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EF565088-9722-7082-D34D-6CCC9618651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pic>
        <p:nvPicPr>
          <p:cNvPr id="13" name="Picture 12" descr="Marketreach Logo">
            <a:extLst>
              <a:ext uri="{FF2B5EF4-FFF2-40B4-BE49-F238E27FC236}">
                <a16:creationId xmlns:a16="http://schemas.microsoft.com/office/drawing/2014/main" id="{61FCDB74-1F0F-E14C-1182-7EC092E121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9592A58E-3435-1CD1-C0DF-3188DB1370B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166154236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St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>
            <a:extLst>
              <a:ext uri="{FF2B5EF4-FFF2-40B4-BE49-F238E27FC236}">
                <a16:creationId xmlns:a16="http://schemas.microsoft.com/office/drawing/2014/main" id="{E25AE843-60FB-62F0-9970-1DD05B32C229}"/>
              </a:ext>
            </a:extLst>
          </p:cNvPr>
          <p:cNvSpPr/>
          <p:nvPr userDrawn="1"/>
        </p:nvSpPr>
        <p:spPr>
          <a:xfrm>
            <a:off x="7384123" y="2016563"/>
            <a:ext cx="2052000" cy="398019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FCFCBF6E-B065-D460-5D1A-A063B633337B}"/>
              </a:ext>
            </a:extLst>
          </p:cNvPr>
          <p:cNvSpPr/>
          <p:nvPr userDrawn="1"/>
        </p:nvSpPr>
        <p:spPr>
          <a:xfrm>
            <a:off x="5082502" y="2016563"/>
            <a:ext cx="2052000" cy="398019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6AF5689-365A-DB95-7C49-CB936A2FB276}"/>
              </a:ext>
            </a:extLst>
          </p:cNvPr>
          <p:cNvSpPr/>
          <p:nvPr userDrawn="1"/>
        </p:nvSpPr>
        <p:spPr>
          <a:xfrm>
            <a:off x="2780881" y="2016563"/>
            <a:ext cx="2052000" cy="398019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8B9FDD73-9E09-7945-9A46-BD5E2414CC7A}"/>
              </a:ext>
            </a:extLst>
          </p:cNvPr>
          <p:cNvSpPr/>
          <p:nvPr userDrawn="1"/>
        </p:nvSpPr>
        <p:spPr>
          <a:xfrm>
            <a:off x="479260" y="2016563"/>
            <a:ext cx="2052000" cy="398019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3A1062A9-12EF-40B8-8136-D997D0DBC355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E10AA6B4-06A0-4B7D-BECB-BEC3276631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Process, 5 stages</a:t>
            </a:r>
            <a:endParaRPr lang="en-GB" dirty="0"/>
          </a:p>
        </p:txBody>
      </p:sp>
      <p:sp>
        <p:nvSpPr>
          <p:cNvPr id="4" name="Text Placeholder 35">
            <a:extLst>
              <a:ext uri="{FF2B5EF4-FFF2-40B4-BE49-F238E27FC236}">
                <a16:creationId xmlns:a16="http://schemas.microsoft.com/office/drawing/2014/main" id="{E4C20D9F-9E8A-CE52-DAA1-C21A86946B8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73687" y="2064045"/>
            <a:ext cx="1863147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10" name="Text Placeholder 40">
            <a:extLst>
              <a:ext uri="{FF2B5EF4-FFF2-40B4-BE49-F238E27FC236}">
                <a16:creationId xmlns:a16="http://schemas.microsoft.com/office/drawing/2014/main" id="{10C923C8-4C98-99B6-2BD5-1AA1D9213C0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73275" y="3176784"/>
            <a:ext cx="1863971" cy="2703764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5" name="Slide Number Placeholder 1">
            <a:extLst>
              <a:ext uri="{FF2B5EF4-FFF2-40B4-BE49-F238E27FC236}">
                <a16:creationId xmlns:a16="http://schemas.microsoft.com/office/drawing/2014/main" id="{DB4929AC-1069-9091-0A28-CEA3495032D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26" name="Text Placeholder 35">
            <a:extLst>
              <a:ext uri="{FF2B5EF4-FFF2-40B4-BE49-F238E27FC236}">
                <a16:creationId xmlns:a16="http://schemas.microsoft.com/office/drawing/2014/main" id="{7319F27D-77A3-E732-0F54-9F323C99421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875308" y="2064045"/>
            <a:ext cx="1863147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27" name="Text Placeholder 40">
            <a:extLst>
              <a:ext uri="{FF2B5EF4-FFF2-40B4-BE49-F238E27FC236}">
                <a16:creationId xmlns:a16="http://schemas.microsoft.com/office/drawing/2014/main" id="{2D70C74C-30AC-ACA6-FF27-115C3B74C6B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874896" y="3176784"/>
            <a:ext cx="1863971" cy="2703764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29" name="Text Placeholder 35">
            <a:extLst>
              <a:ext uri="{FF2B5EF4-FFF2-40B4-BE49-F238E27FC236}">
                <a16:creationId xmlns:a16="http://schemas.microsoft.com/office/drawing/2014/main" id="{9A3B4B7F-D035-24D0-CC35-7A92E69CCC0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176929" y="2064045"/>
            <a:ext cx="1863147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31" name="Text Placeholder 40">
            <a:extLst>
              <a:ext uri="{FF2B5EF4-FFF2-40B4-BE49-F238E27FC236}">
                <a16:creationId xmlns:a16="http://schemas.microsoft.com/office/drawing/2014/main" id="{170D1F95-8CB0-AF85-DBCB-572162A2FF55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176517" y="3176784"/>
            <a:ext cx="1863971" cy="2703764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33" name="Text Placeholder 35">
            <a:extLst>
              <a:ext uri="{FF2B5EF4-FFF2-40B4-BE49-F238E27FC236}">
                <a16:creationId xmlns:a16="http://schemas.microsoft.com/office/drawing/2014/main" id="{3D550665-44CF-0CD7-8B93-8E205489E54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78550" y="2064045"/>
            <a:ext cx="1863147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34" name="Text Placeholder 40">
            <a:extLst>
              <a:ext uri="{FF2B5EF4-FFF2-40B4-BE49-F238E27FC236}">
                <a16:creationId xmlns:a16="http://schemas.microsoft.com/office/drawing/2014/main" id="{5B024C84-674A-9337-18A2-A2CCB47285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478138" y="3176784"/>
            <a:ext cx="1863971" cy="2703764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3495561E-FBD4-B309-8EAA-E1AFFAB8BF13}"/>
              </a:ext>
            </a:extLst>
          </p:cNvPr>
          <p:cNvSpPr/>
          <p:nvPr userDrawn="1"/>
        </p:nvSpPr>
        <p:spPr>
          <a:xfrm>
            <a:off x="9685744" y="2016563"/>
            <a:ext cx="2052000" cy="398019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0CD0E33C-E08A-51C3-6217-FDD13D92114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780171" y="2064045"/>
            <a:ext cx="1863147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38" name="Text Placeholder 40">
            <a:extLst>
              <a:ext uri="{FF2B5EF4-FFF2-40B4-BE49-F238E27FC236}">
                <a16:creationId xmlns:a16="http://schemas.microsoft.com/office/drawing/2014/main" id="{AAE66CD9-AEA5-0BBB-ADA5-D572D4CFE435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9779759" y="3176784"/>
            <a:ext cx="1863971" cy="2703764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85AA43C-B712-5DE7-9F4D-A102BC4F758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DB6229A1-DBE2-8415-655E-D443242C846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pic>
        <p:nvPicPr>
          <p:cNvPr id="7" name="Picture 6" descr="Marketreach Logo">
            <a:extLst>
              <a:ext uri="{FF2B5EF4-FFF2-40B4-BE49-F238E27FC236}">
                <a16:creationId xmlns:a16="http://schemas.microsoft.com/office/drawing/2014/main" id="{60BBA52C-81E9-F167-6EA3-74D1FE6468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D6546586-C17A-39B1-7B24-A86C4020318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244213003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t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3A1062A9-12EF-40B8-8136-D997D0DBC355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E10AA6B4-06A0-4B7D-BECB-BEC3276631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Process, 6 stages</a:t>
            </a:r>
            <a:endParaRPr lang="en-GB" dirty="0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7A33D06-1EAE-4D42-BD90-9B587543E04E}"/>
              </a:ext>
            </a:extLst>
          </p:cNvPr>
          <p:cNvSpPr/>
          <p:nvPr userDrawn="1"/>
        </p:nvSpPr>
        <p:spPr>
          <a:xfrm>
            <a:off x="251813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443621B-4CB3-4E1A-A2AE-720BADB52B26}"/>
              </a:ext>
            </a:extLst>
          </p:cNvPr>
          <p:cNvSpPr/>
          <p:nvPr userDrawn="1"/>
        </p:nvSpPr>
        <p:spPr>
          <a:xfrm>
            <a:off x="2214514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AF4F4918-3112-40A9-B65C-A32B1F402BF2}"/>
              </a:ext>
            </a:extLst>
          </p:cNvPr>
          <p:cNvSpPr/>
          <p:nvPr userDrawn="1"/>
        </p:nvSpPr>
        <p:spPr>
          <a:xfrm>
            <a:off x="4195377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306A64D0-8B54-443B-8C2A-AC90A4B3C517}"/>
              </a:ext>
            </a:extLst>
          </p:cNvPr>
          <p:cNvSpPr/>
          <p:nvPr userDrawn="1"/>
        </p:nvSpPr>
        <p:spPr>
          <a:xfrm>
            <a:off x="6142197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318F6E51-B6BE-439C-8449-84F6671EE3E7}"/>
              </a:ext>
            </a:extLst>
          </p:cNvPr>
          <p:cNvSpPr/>
          <p:nvPr userDrawn="1"/>
        </p:nvSpPr>
        <p:spPr>
          <a:xfrm>
            <a:off x="8132366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A8B57032-18CE-4064-AFE1-6A0302A02800}"/>
              </a:ext>
            </a:extLst>
          </p:cNvPr>
          <p:cNvSpPr/>
          <p:nvPr userDrawn="1"/>
        </p:nvSpPr>
        <p:spPr>
          <a:xfrm>
            <a:off x="10084057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Text Placeholder 35">
            <a:extLst>
              <a:ext uri="{FF2B5EF4-FFF2-40B4-BE49-F238E27FC236}">
                <a16:creationId xmlns:a16="http://schemas.microsoft.com/office/drawing/2014/main" id="{5BE3D4E0-F635-C149-A17F-2304E79EE2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79704" y="2089041"/>
            <a:ext cx="1755725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5" name="Text Placeholder 35">
            <a:extLst>
              <a:ext uri="{FF2B5EF4-FFF2-40B4-BE49-F238E27FC236}">
                <a16:creationId xmlns:a16="http://schemas.microsoft.com/office/drawing/2014/main" id="{12E7AB89-E050-AB45-70A4-7350079DEB9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242405" y="2089041"/>
            <a:ext cx="1755725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6" name="Text Placeholder 35">
            <a:extLst>
              <a:ext uri="{FF2B5EF4-FFF2-40B4-BE49-F238E27FC236}">
                <a16:creationId xmlns:a16="http://schemas.microsoft.com/office/drawing/2014/main" id="{BDE9D3C7-DA6C-CB2B-A31E-1162875CF38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23268" y="2089041"/>
            <a:ext cx="1755725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7" name="Text Placeholder 35">
            <a:extLst>
              <a:ext uri="{FF2B5EF4-FFF2-40B4-BE49-F238E27FC236}">
                <a16:creationId xmlns:a16="http://schemas.microsoft.com/office/drawing/2014/main" id="{4DD1A8DD-C95D-C873-10E6-8BACB1DE245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70088" y="2089041"/>
            <a:ext cx="1755725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8" name="Text Placeholder 35">
            <a:extLst>
              <a:ext uri="{FF2B5EF4-FFF2-40B4-BE49-F238E27FC236}">
                <a16:creationId xmlns:a16="http://schemas.microsoft.com/office/drawing/2014/main" id="{9D287025-6C27-2A5A-886B-67F944FE6C8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160257" y="2089041"/>
            <a:ext cx="1755725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9" name="Text Placeholder 35">
            <a:extLst>
              <a:ext uri="{FF2B5EF4-FFF2-40B4-BE49-F238E27FC236}">
                <a16:creationId xmlns:a16="http://schemas.microsoft.com/office/drawing/2014/main" id="{EFF10739-506D-A6CF-7243-3072D449455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0111948" y="2089041"/>
            <a:ext cx="1755725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10" name="Text Placeholder 40">
            <a:extLst>
              <a:ext uri="{FF2B5EF4-FFF2-40B4-BE49-F238E27FC236}">
                <a16:creationId xmlns:a16="http://schemas.microsoft.com/office/drawing/2014/main" id="{FEAD0CE5-4212-D3C7-4EEA-8076F3576F6C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79704" y="3193394"/>
            <a:ext cx="1755724" cy="2683560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11" name="Text Placeholder 40">
            <a:extLst>
              <a:ext uri="{FF2B5EF4-FFF2-40B4-BE49-F238E27FC236}">
                <a16:creationId xmlns:a16="http://schemas.microsoft.com/office/drawing/2014/main" id="{79896CF6-C3E9-4965-A941-FA50028A422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242405" y="3193394"/>
            <a:ext cx="1755724" cy="2683560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12" name="Text Placeholder 40">
            <a:extLst>
              <a:ext uri="{FF2B5EF4-FFF2-40B4-BE49-F238E27FC236}">
                <a16:creationId xmlns:a16="http://schemas.microsoft.com/office/drawing/2014/main" id="{A034F26E-AE99-3D13-FCC7-95C1C08333F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223268" y="3193394"/>
            <a:ext cx="1755724" cy="2683560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13" name="Text Placeholder 40">
            <a:extLst>
              <a:ext uri="{FF2B5EF4-FFF2-40B4-BE49-F238E27FC236}">
                <a16:creationId xmlns:a16="http://schemas.microsoft.com/office/drawing/2014/main" id="{92FE2AE8-747D-A937-B37D-9F2A24A2003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0111948" y="3193394"/>
            <a:ext cx="1755724" cy="2683560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14" name="Text Placeholder 40">
            <a:extLst>
              <a:ext uri="{FF2B5EF4-FFF2-40B4-BE49-F238E27FC236}">
                <a16:creationId xmlns:a16="http://schemas.microsoft.com/office/drawing/2014/main" id="{51D497F9-F447-E929-216D-16AE3C705527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170088" y="3193394"/>
            <a:ext cx="1755724" cy="2683560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15" name="Text Placeholder 40">
            <a:extLst>
              <a:ext uri="{FF2B5EF4-FFF2-40B4-BE49-F238E27FC236}">
                <a16:creationId xmlns:a16="http://schemas.microsoft.com/office/drawing/2014/main" id="{6F1E1C5D-AC2B-BD6F-3F65-9F2C5CA37BE3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160257" y="3193394"/>
            <a:ext cx="1755724" cy="2683560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16" name="Slide Number Placeholder 1">
            <a:extLst>
              <a:ext uri="{FF2B5EF4-FFF2-40B4-BE49-F238E27FC236}">
                <a16:creationId xmlns:a16="http://schemas.microsoft.com/office/drawing/2014/main" id="{F5DA396A-9BDF-D439-1B7B-16BF8C13F3D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1E8A76E-948C-6C1E-2189-551666265C3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B9AC8F34-9119-3E31-091A-6D155A8DE82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pic>
        <p:nvPicPr>
          <p:cNvPr id="17" name="Picture 16" descr="Marketreach Logo">
            <a:extLst>
              <a:ext uri="{FF2B5EF4-FFF2-40B4-BE49-F238E27FC236}">
                <a16:creationId xmlns:a16="http://schemas.microsoft.com/office/drawing/2014/main" id="{B353D1E5-8306-54FD-D5C5-B8FD0043592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55A623B2-7182-664F-1BC6-23498A4516C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20732859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68C3CF0-EDE0-41E7-90BE-6658867FA7F3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24792" y="1790475"/>
            <a:ext cx="3971525" cy="441805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2E94993B-2CBF-4D63-9C0B-3DEB90439715}"/>
              </a:ext>
            </a:extLst>
          </p:cNvPr>
          <p:cNvSpPr>
            <a:spLocks noGrp="1"/>
          </p:cNvSpPr>
          <p:nvPr>
            <p:ph type="tbl" sz="quarter" idx="13" hasCustomPrompt="1"/>
          </p:nvPr>
        </p:nvSpPr>
        <p:spPr>
          <a:xfrm>
            <a:off x="4738254" y="1800000"/>
            <a:ext cx="7028953" cy="4418051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lang="en-GB" sz="24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icon to create tabl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5F6F180-AB11-4527-B626-D97C6BF4248D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14C29F6F-C163-420D-97CC-76412D34F2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table slide</a:t>
            </a:r>
            <a:endParaRPr lang="en-GB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253BFF7-466C-9386-C699-CC461BB8DA7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764629B-C2EB-6F28-33C7-67A1C9A53E0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65253A54-D5B4-0C48-72BA-FA4D70929BD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pic>
        <p:nvPicPr>
          <p:cNvPr id="6" name="Picture 5" descr="Marketreach Logo">
            <a:extLst>
              <a:ext uri="{FF2B5EF4-FFF2-40B4-BE49-F238E27FC236}">
                <a16:creationId xmlns:a16="http://schemas.microsoft.com/office/drawing/2014/main" id="{862F90D6-F28B-BE2B-0B3F-EBD3CAB491F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0585C5F5-F936-A1F4-2FF5-4CF3BBB7C5E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6439607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2E94993B-2CBF-4D63-9C0B-3DEB90439715}"/>
              </a:ext>
            </a:extLst>
          </p:cNvPr>
          <p:cNvSpPr>
            <a:spLocks noGrp="1"/>
          </p:cNvSpPr>
          <p:nvPr>
            <p:ph type="tbl" sz="quarter" idx="13" hasCustomPrompt="1"/>
          </p:nvPr>
        </p:nvSpPr>
        <p:spPr>
          <a:xfrm>
            <a:off x="424544" y="1800000"/>
            <a:ext cx="11332027" cy="4408526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lang="en-GB" sz="24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icon to create tab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94A7B83-05EC-4DDD-B5D8-A0AC5450300C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0CB62F3-143F-445A-BBC5-D8A464DEEC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able only slide</a:t>
            </a:r>
            <a:endParaRPr lang="en-GB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7B059D6-441D-2DF1-1CD3-1E98463FC9C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2B5006B-188C-E170-3CF7-64B5609B441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2ECFECB7-01E5-F3A6-E473-6A4FF18BE77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pic>
        <p:nvPicPr>
          <p:cNvPr id="4" name="Picture 3" descr="Marketreach Logo">
            <a:extLst>
              <a:ext uri="{FF2B5EF4-FFF2-40B4-BE49-F238E27FC236}">
                <a16:creationId xmlns:a16="http://schemas.microsoft.com/office/drawing/2014/main" id="{78FD8D7C-A9C9-E743-3BD3-11BE8BD05A4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B0831567-6A8B-343E-C4E4-A6958308FA5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55229246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3DC711EC-EB1D-471B-AAF7-BC181F2674F8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4738254" y="1800001"/>
            <a:ext cx="7028953" cy="4418051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create chart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342EA0E-BFF4-499A-9126-032D30FD013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49BF0055-222A-4114-952B-55BC385436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chart slide</a:t>
            </a:r>
            <a:endParaRPr lang="en-GB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7CF7DD14-DF26-4216-8376-F84F3656B57F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24792" y="1790475"/>
            <a:ext cx="3971525" cy="441805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4FE4D3D-A80C-0258-0753-C6B65762359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4715714-1369-0F44-AFAB-E36A12B4EFD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FE586F96-B037-E747-9D35-E14B2BA6BC0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pic>
        <p:nvPicPr>
          <p:cNvPr id="4" name="Picture 3" descr="Marketreach Logo">
            <a:extLst>
              <a:ext uri="{FF2B5EF4-FFF2-40B4-BE49-F238E27FC236}">
                <a16:creationId xmlns:a16="http://schemas.microsoft.com/office/drawing/2014/main" id="{0BB0918F-C70C-88F9-2D8A-304F442F279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C73918C7-3020-EFB5-D1A7-AFAAA992A26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264977819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arg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7" name="Picture 6" descr="A target on a stand in a field&#10;&#10;Description automatically generated">
            <a:extLst>
              <a:ext uri="{FF2B5EF4-FFF2-40B4-BE49-F238E27FC236}">
                <a16:creationId xmlns:a16="http://schemas.microsoft.com/office/drawing/2014/main" id="{AFB72DF0-8C1C-6D12-97CE-D1C44B62B9F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201229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B53D7E9-E6A4-2A07-329F-6B4F90A81E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369"/>
          <a:stretch/>
        </p:blipFill>
        <p:spPr>
          <a:xfrm>
            <a:off x="0" y="1"/>
            <a:ext cx="12204905" cy="685799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9D21407-9DE8-879F-B4E6-3ACBC100B5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pic>
        <p:nvPicPr>
          <p:cNvPr id="9" name="Picture 8" descr="Marketreach Logo">
            <a:extLst>
              <a:ext uri="{FF2B5EF4-FFF2-40B4-BE49-F238E27FC236}">
                <a16:creationId xmlns:a16="http://schemas.microsoft.com/office/drawing/2014/main" id="{465AEAE4-055E-5438-6914-E0F5EA63BC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  <p:sp>
        <p:nvSpPr>
          <p:cNvPr id="6" name="Title 3">
            <a:extLst>
              <a:ext uri="{FF2B5EF4-FFF2-40B4-BE49-F238E27FC236}">
                <a16:creationId xmlns:a16="http://schemas.microsoft.com/office/drawing/2014/main" id="{FFBEC9BF-CAAE-523C-D5A1-74747D99DA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9309828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, UPPER CASE</a:t>
            </a:r>
            <a:endParaRPr lang="en-US" dirty="0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FD45DC04-C55B-F160-9DD9-83196D6C168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922637"/>
            <a:ext cx="9214895" cy="2338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, sentence case</a:t>
            </a:r>
          </a:p>
        </p:txBody>
      </p:sp>
      <p:sp>
        <p:nvSpPr>
          <p:cNvPr id="10" name="Text Placeholder 37">
            <a:extLst>
              <a:ext uri="{FF2B5EF4-FFF2-40B4-BE49-F238E27FC236}">
                <a16:creationId xmlns:a16="http://schemas.microsoft.com/office/drawing/2014/main" id="{43185B68-EE35-EA87-659D-2F4B3AC69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314843"/>
            <a:ext cx="9214895" cy="21341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1714288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3DC711EC-EB1D-471B-AAF7-BC181F2674F8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424544" y="1790476"/>
            <a:ext cx="11332027" cy="4457924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create chart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3A7FF20-1F5C-4182-891F-E10BC4628A9B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BB338666-5A7B-4746-ADDB-6279C03CD1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Chart only slide</a:t>
            </a:r>
            <a:endParaRPr lang="en-GB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BD051FE-B4A8-FE2E-4445-D20EBE6A1B9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D4F8266-C10C-12A4-F700-B908003D513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E086DD35-104F-D150-9FCC-4CCA92764CD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pic>
        <p:nvPicPr>
          <p:cNvPr id="4" name="Picture 3" descr="Marketreach Logo">
            <a:extLst>
              <a:ext uri="{FF2B5EF4-FFF2-40B4-BE49-F238E27FC236}">
                <a16:creationId xmlns:a16="http://schemas.microsoft.com/office/drawing/2014/main" id="{3C3B98D2-3CEA-20DA-6BD6-6CE76BE28CC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3B379E67-0DBB-409F-F029-067B73879D0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420851639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, Wind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8" name="Picture 7" descr="A person sitting at a table&#10;&#10;Description automatically generated">
            <a:extLst>
              <a:ext uri="{FF2B5EF4-FFF2-40B4-BE49-F238E27FC236}">
                <a16:creationId xmlns:a16="http://schemas.microsoft.com/office/drawing/2014/main" id="{52133B59-F0C9-630F-F6F2-032A4E96CCC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2509C3B-2FD4-F170-2377-F441D21665B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201229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EA160BA-8AD3-6DA3-1C07-85A69D5DBA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713EB68A-E0B6-E417-3619-6071DFF385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9301468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D9ACE5D-508D-A2ED-CA06-9D2101F9ED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912781"/>
            <a:ext cx="9202408" cy="2437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pic>
        <p:nvPicPr>
          <p:cNvPr id="5" name="Picture 4" descr="Marketreach Logo">
            <a:extLst>
              <a:ext uri="{FF2B5EF4-FFF2-40B4-BE49-F238E27FC236}">
                <a16:creationId xmlns:a16="http://schemas.microsoft.com/office/drawing/2014/main" id="{DF7C87BB-B63E-3705-9E7C-78DF52AC66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757051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, Streng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6" name="Picture 5" descr="A child in a garment holding a barbell&#10;&#10;Description automatically generated">
            <a:extLst>
              <a:ext uri="{FF2B5EF4-FFF2-40B4-BE49-F238E27FC236}">
                <a16:creationId xmlns:a16="http://schemas.microsoft.com/office/drawing/2014/main" id="{7B5A3DFB-7BC2-427B-DC10-B418279416B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10232"/>
            <a:ext cx="12192000" cy="68580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2509C3B-2FD4-F170-2377-F441D21665B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0231"/>
            <a:ext cx="12201229" cy="68579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EA160BA-8AD3-6DA3-1C07-85A69D5DBA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713EB68A-E0B6-E417-3619-6071DFF385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9301468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D9ACE5D-508D-A2ED-CA06-9D2101F9ED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912781"/>
            <a:ext cx="9202408" cy="2437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pic>
        <p:nvPicPr>
          <p:cNvPr id="5" name="Picture 4" descr="Marketreach Logo">
            <a:extLst>
              <a:ext uri="{FF2B5EF4-FFF2-40B4-BE49-F238E27FC236}">
                <a16:creationId xmlns:a16="http://schemas.microsoft.com/office/drawing/2014/main" id="{DF7C87BB-B63E-3705-9E7C-78DF52AC66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048582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, Rock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8" name="Picture 7" descr="A person carrying a child on his shoulders&#10;&#10;Description automatically generated">
            <a:extLst>
              <a:ext uri="{FF2B5EF4-FFF2-40B4-BE49-F238E27FC236}">
                <a16:creationId xmlns:a16="http://schemas.microsoft.com/office/drawing/2014/main" id="{4C7CA651-0BFF-1A25-3470-A7C4EF97572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1" y="1"/>
            <a:ext cx="12201228" cy="6857999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2509C3B-2FD4-F170-2377-F441D21665B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2192000" cy="68579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EA160BA-8AD3-6DA3-1C07-85A69D5DBA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713EB68A-E0B6-E417-3619-6071DFF385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9301468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D9ACE5D-508D-A2ED-CA06-9D2101F9ED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912781"/>
            <a:ext cx="9202408" cy="2437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pic>
        <p:nvPicPr>
          <p:cNvPr id="5" name="Picture 4" descr="Marketreach Logo">
            <a:extLst>
              <a:ext uri="{FF2B5EF4-FFF2-40B4-BE49-F238E27FC236}">
                <a16:creationId xmlns:a16="http://schemas.microsoft.com/office/drawing/2014/main" id="{DF7C87BB-B63E-3705-9E7C-78DF52AC66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948287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, Hous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8" name="Picture 7" descr="A row of colorful houses&#10;&#10;Description automatically generated">
            <a:extLst>
              <a:ext uri="{FF2B5EF4-FFF2-40B4-BE49-F238E27FC236}">
                <a16:creationId xmlns:a16="http://schemas.microsoft.com/office/drawing/2014/main" id="{ECAB741E-1AA0-248F-7BDE-2EEAEE0A35D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72079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2509C3B-2FD4-F170-2377-F441D21665B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201229" cy="6872373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EA160BA-8AD3-6DA3-1C07-85A69D5DBA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713EB68A-E0B6-E417-3619-6071DFF385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9301468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D9ACE5D-508D-A2ED-CA06-9D2101F9ED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912781"/>
            <a:ext cx="9202408" cy="2437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pic>
        <p:nvPicPr>
          <p:cNvPr id="5" name="Picture 4" descr="Marketreach Logo">
            <a:extLst>
              <a:ext uri="{FF2B5EF4-FFF2-40B4-BE49-F238E27FC236}">
                <a16:creationId xmlns:a16="http://schemas.microsoft.com/office/drawing/2014/main" id="{DF7C87BB-B63E-3705-9E7C-78DF52AC66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43202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, Targ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8" name="Picture 7" descr="A target on a stand in a field&#10;&#10;Description automatically generated">
            <a:extLst>
              <a:ext uri="{FF2B5EF4-FFF2-40B4-BE49-F238E27FC236}">
                <a16:creationId xmlns:a16="http://schemas.microsoft.com/office/drawing/2014/main" id="{AC6732C3-A85A-F055-253F-1689333EA00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201229" cy="68580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2509C3B-2FD4-F170-2377-F441D21665B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2201229" cy="68579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EA160BA-8AD3-6DA3-1C07-85A69D5DBA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713EB68A-E0B6-E417-3619-6071DFF385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9301468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D9ACE5D-508D-A2ED-CA06-9D2101F9ED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912781"/>
            <a:ext cx="9202408" cy="2437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pic>
        <p:nvPicPr>
          <p:cNvPr id="5" name="Picture 4" descr="Marketreach Logo">
            <a:extLst>
              <a:ext uri="{FF2B5EF4-FFF2-40B4-BE49-F238E27FC236}">
                <a16:creationId xmlns:a16="http://schemas.microsoft.com/office/drawing/2014/main" id="{DF7C87BB-B63E-3705-9E7C-78DF52AC66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805798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, Tru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8" name="Picture 7" descr="A person holding a person on a dock&#10;&#10;Description automatically generated">
            <a:extLst>
              <a:ext uri="{FF2B5EF4-FFF2-40B4-BE49-F238E27FC236}">
                <a16:creationId xmlns:a16="http://schemas.microsoft.com/office/drawing/2014/main" id="{DB419527-F9A8-FE7B-1DC6-06DE6174478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-1" y="1"/>
            <a:ext cx="12201229" cy="68580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2509C3B-2FD4-F170-2377-F441D21665B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2201229" cy="68579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EA160BA-8AD3-6DA3-1C07-85A69D5DBA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713EB68A-E0B6-E417-3619-6071DFF385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9301468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D9ACE5D-508D-A2ED-CA06-9D2101F9ED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912781"/>
            <a:ext cx="9202408" cy="2437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pic>
        <p:nvPicPr>
          <p:cNvPr id="5" name="Picture 4" descr="Marketreach Logo">
            <a:extLst>
              <a:ext uri="{FF2B5EF4-FFF2-40B4-BE49-F238E27FC236}">
                <a16:creationId xmlns:a16="http://schemas.microsoft.com/office/drawing/2014/main" id="{DF7C87BB-B63E-3705-9E7C-78DF52AC66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644328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, Jo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8" name="Picture 7" descr="A person lying on the floor with her hand over her mouth&#10;&#10;Description automatically generated">
            <a:extLst>
              <a:ext uri="{FF2B5EF4-FFF2-40B4-BE49-F238E27FC236}">
                <a16:creationId xmlns:a16="http://schemas.microsoft.com/office/drawing/2014/main" id="{C1CF239E-047D-0A5B-2F78-C444F6BC07E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201229" cy="68580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2509C3B-2FD4-F170-2377-F441D21665B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201229" cy="68579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EA160BA-8AD3-6DA3-1C07-85A69D5DBA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713EB68A-E0B6-E417-3619-6071DFF385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9301468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D9ACE5D-508D-A2ED-CA06-9D2101F9ED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912781"/>
            <a:ext cx="9202408" cy="2437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pic>
        <p:nvPicPr>
          <p:cNvPr id="5" name="Picture 4" descr="Marketreach Logo">
            <a:extLst>
              <a:ext uri="{FF2B5EF4-FFF2-40B4-BE49-F238E27FC236}">
                <a16:creationId xmlns:a16="http://schemas.microsoft.com/office/drawing/2014/main" id="{DF7C87BB-B63E-3705-9E7C-78DF52AC66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52340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, No Image,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EA160BA-8AD3-6DA3-1C07-85A69D5DBA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713EB68A-E0B6-E417-3619-6071DFF385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9301468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D9ACE5D-508D-A2ED-CA06-9D2101F9ED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912781"/>
            <a:ext cx="9202408" cy="2437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pic>
        <p:nvPicPr>
          <p:cNvPr id="5" name="Picture 4" descr="Marketreach Logo">
            <a:extLst>
              <a:ext uri="{FF2B5EF4-FFF2-40B4-BE49-F238E27FC236}">
                <a16:creationId xmlns:a16="http://schemas.microsoft.com/office/drawing/2014/main" id="{DF7C87BB-B63E-3705-9E7C-78DF52AC66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287848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, No Image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itle 2">
            <a:extLst>
              <a:ext uri="{FF2B5EF4-FFF2-40B4-BE49-F238E27FC236}">
                <a16:creationId xmlns:a16="http://schemas.microsoft.com/office/drawing/2014/main" id="{1BA498EF-EBA8-1E15-FE29-BFDEB44F9DE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891545"/>
            <a:ext cx="9112533" cy="27191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tx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D5D3934-1028-727A-7755-61AA75BDCCD0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" name="Title 3">
            <a:extLst>
              <a:ext uri="{FF2B5EF4-FFF2-40B4-BE49-F238E27FC236}">
                <a16:creationId xmlns:a16="http://schemas.microsoft.com/office/drawing/2014/main" id="{674A66A5-D4C7-23C6-249F-ADEB011604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9211593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B85896FC-F708-B183-B0BE-143B655730D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7860" y="110507"/>
            <a:ext cx="2446146" cy="3240000"/>
          </a:xfrm>
          <a:prstGeom prst="rect">
            <a:avLst/>
          </a:prstGeom>
        </p:spPr>
      </p:pic>
      <p:pic>
        <p:nvPicPr>
          <p:cNvPr id="4" name="Picture 3" descr="Marketreach Logo">
            <a:extLst>
              <a:ext uri="{FF2B5EF4-FFF2-40B4-BE49-F238E27FC236}">
                <a16:creationId xmlns:a16="http://schemas.microsoft.com/office/drawing/2014/main" id="{2C12ED2E-728A-3074-EA4F-1FAF01D7C9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1555"/>
            <a:ext cx="4547626" cy="10982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28037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Pi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7" name="Picture 6" descr="A person holding a person on a dock&#10;&#10;Description automatically generated">
            <a:extLst>
              <a:ext uri="{FF2B5EF4-FFF2-40B4-BE49-F238E27FC236}">
                <a16:creationId xmlns:a16="http://schemas.microsoft.com/office/drawing/2014/main" id="{6920D2D2-FAB5-C0B8-F289-8377447137A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1"/>
            <a:ext cx="12201229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B53D7E9-E6A4-2A07-329F-6B4F90A81E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66"/>
          <a:stretch/>
        </p:blipFill>
        <p:spPr>
          <a:xfrm>
            <a:off x="0" y="1"/>
            <a:ext cx="12193142" cy="685799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9D21407-9DE8-879F-B4E6-3ACBC100B5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pic>
        <p:nvPicPr>
          <p:cNvPr id="9" name="Picture 8" descr="Marketreach Logo">
            <a:extLst>
              <a:ext uri="{FF2B5EF4-FFF2-40B4-BE49-F238E27FC236}">
                <a16:creationId xmlns:a16="http://schemas.microsoft.com/office/drawing/2014/main" id="{465AEAE4-055E-5438-6914-E0F5EA63BC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  <p:sp>
        <p:nvSpPr>
          <p:cNvPr id="6" name="Title 3">
            <a:extLst>
              <a:ext uri="{FF2B5EF4-FFF2-40B4-BE49-F238E27FC236}">
                <a16:creationId xmlns:a16="http://schemas.microsoft.com/office/drawing/2014/main" id="{F2DD7CE5-128B-B518-260A-50696ADDEC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9309828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, UPPER CASE</a:t>
            </a:r>
            <a:endParaRPr lang="en-US" dirty="0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FFBE2290-B74C-734A-8F78-BF2465726DB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922637"/>
            <a:ext cx="9214895" cy="2338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, sentence case</a:t>
            </a:r>
          </a:p>
        </p:txBody>
      </p:sp>
      <p:sp>
        <p:nvSpPr>
          <p:cNvPr id="10" name="Text Placeholder 37">
            <a:extLst>
              <a:ext uri="{FF2B5EF4-FFF2-40B4-BE49-F238E27FC236}">
                <a16:creationId xmlns:a16="http://schemas.microsoft.com/office/drawing/2014/main" id="{8515B60C-6B11-30CB-CD25-B8F654B8DBF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314843"/>
            <a:ext cx="9214895" cy="21341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3516749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Jo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8" name="Picture 7" descr="A person lying on the floor with her hand over her mouth&#10;&#10;Description automatically generated">
            <a:extLst>
              <a:ext uri="{FF2B5EF4-FFF2-40B4-BE49-F238E27FC236}">
                <a16:creationId xmlns:a16="http://schemas.microsoft.com/office/drawing/2014/main" id="{6E5657EB-1E1E-B9F8-DBD8-573BA0DC0E0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201229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B53D7E9-E6A4-2A07-329F-6B4F90A81E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66"/>
          <a:stretch/>
        </p:blipFill>
        <p:spPr>
          <a:xfrm>
            <a:off x="0" y="0"/>
            <a:ext cx="12201229" cy="685799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9D21407-9DE8-879F-B4E6-3ACBC100B5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pic>
        <p:nvPicPr>
          <p:cNvPr id="9" name="Picture 8" descr="Marketreach Logo">
            <a:extLst>
              <a:ext uri="{FF2B5EF4-FFF2-40B4-BE49-F238E27FC236}">
                <a16:creationId xmlns:a16="http://schemas.microsoft.com/office/drawing/2014/main" id="{465AEAE4-055E-5438-6914-E0F5EA63BC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  <p:sp>
        <p:nvSpPr>
          <p:cNvPr id="10" name="Title 3">
            <a:extLst>
              <a:ext uri="{FF2B5EF4-FFF2-40B4-BE49-F238E27FC236}">
                <a16:creationId xmlns:a16="http://schemas.microsoft.com/office/drawing/2014/main" id="{C1A735EC-4AA8-D7C8-8E53-86C406F346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9309828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, UPPER CASE</a:t>
            </a:r>
            <a:endParaRPr lang="en-US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2E205410-D11B-699E-4870-54E2F4F2EF8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922637"/>
            <a:ext cx="9214895" cy="2338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, sentence case</a:t>
            </a:r>
          </a:p>
        </p:txBody>
      </p:sp>
      <p:sp>
        <p:nvSpPr>
          <p:cNvPr id="13" name="Text Placeholder 37">
            <a:extLst>
              <a:ext uri="{FF2B5EF4-FFF2-40B4-BE49-F238E27FC236}">
                <a16:creationId xmlns:a16="http://schemas.microsoft.com/office/drawing/2014/main" id="{58A447DB-D74B-0D2D-4DC2-BCA5C0048F1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314843"/>
            <a:ext cx="9214895" cy="21341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5216745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No Image,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9D21407-9DE8-879F-B4E6-3ACBC100B5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pic>
        <p:nvPicPr>
          <p:cNvPr id="9" name="Picture 8" descr="Marketreach Logo">
            <a:extLst>
              <a:ext uri="{FF2B5EF4-FFF2-40B4-BE49-F238E27FC236}">
                <a16:creationId xmlns:a16="http://schemas.microsoft.com/office/drawing/2014/main" id="{465AEAE4-055E-5438-6914-E0F5EA63BC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  <p:sp>
        <p:nvSpPr>
          <p:cNvPr id="10" name="Title 3">
            <a:extLst>
              <a:ext uri="{FF2B5EF4-FFF2-40B4-BE49-F238E27FC236}">
                <a16:creationId xmlns:a16="http://schemas.microsoft.com/office/drawing/2014/main" id="{C1A735EC-4AA8-D7C8-8E53-86C406F346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9309828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, UPPER CASE</a:t>
            </a:r>
            <a:endParaRPr lang="en-US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2E205410-D11B-699E-4870-54E2F4F2EF8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922637"/>
            <a:ext cx="9214895" cy="2338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, sentence case</a:t>
            </a:r>
          </a:p>
        </p:txBody>
      </p:sp>
      <p:sp>
        <p:nvSpPr>
          <p:cNvPr id="13" name="Text Placeholder 37">
            <a:extLst>
              <a:ext uri="{FF2B5EF4-FFF2-40B4-BE49-F238E27FC236}">
                <a16:creationId xmlns:a16="http://schemas.microsoft.com/office/drawing/2014/main" id="{58A447DB-D74B-0D2D-4DC2-BCA5C0048F1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314843"/>
            <a:ext cx="9214895" cy="21341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9884768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No Image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Marketreach Logo">
            <a:extLst>
              <a:ext uri="{FF2B5EF4-FFF2-40B4-BE49-F238E27FC236}">
                <a16:creationId xmlns:a16="http://schemas.microsoft.com/office/drawing/2014/main" id="{EA5B83EF-A0A6-0C35-7B7D-C835B5FE2C0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1555"/>
            <a:ext cx="4547626" cy="1098240"/>
          </a:xfrm>
          <a:prstGeom prst="rect">
            <a:avLst/>
          </a:prstGeom>
        </p:spPr>
      </p:pic>
      <p:sp>
        <p:nvSpPr>
          <p:cNvPr id="7" name="Subtitle 2">
            <a:extLst>
              <a:ext uri="{FF2B5EF4-FFF2-40B4-BE49-F238E27FC236}">
                <a16:creationId xmlns:a16="http://schemas.microsoft.com/office/drawing/2014/main" id="{73B47A39-15AA-D99A-E34C-6912C929EF9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891545"/>
            <a:ext cx="9108000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tx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, sentence case</a:t>
            </a:r>
          </a:p>
        </p:txBody>
      </p:sp>
      <p:sp>
        <p:nvSpPr>
          <p:cNvPr id="8" name="Text Placeholder 37">
            <a:extLst>
              <a:ext uri="{FF2B5EF4-FFF2-40B4-BE49-F238E27FC236}">
                <a16:creationId xmlns:a16="http://schemas.microsoft.com/office/drawing/2014/main" id="{B8CEF0BD-B261-0D68-C825-949D99821F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9996" y="4286471"/>
            <a:ext cx="9108000" cy="2417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8C56868-4061-1519-6397-F3385E1626B5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6" name="Title 3">
            <a:extLst>
              <a:ext uri="{FF2B5EF4-FFF2-40B4-BE49-F238E27FC236}">
                <a16:creationId xmlns:a16="http://schemas.microsoft.com/office/drawing/2014/main" id="{7031D8BB-28A5-A497-85EC-760AC34C42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2" y="2315120"/>
            <a:ext cx="9180000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EDIT TITLE, UPPER CASE</a:t>
            </a:r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4632532-35CB-6571-9B56-4EC598B0365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7860" y="110507"/>
            <a:ext cx="2446146" cy="32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57611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3E1AB9D-4722-4847-9D17-393008E7BCE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2100" y="626110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133376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3" r:id="rId1"/>
    <p:sldLayoutId id="2147483774" r:id="rId2"/>
    <p:sldLayoutId id="2147483834" r:id="rId3"/>
    <p:sldLayoutId id="2147483835" r:id="rId4"/>
    <p:sldLayoutId id="2147483836" r:id="rId5"/>
    <p:sldLayoutId id="2147483837" r:id="rId6"/>
    <p:sldLayoutId id="2147483839" r:id="rId7"/>
    <p:sldLayoutId id="2147483858" r:id="rId8"/>
    <p:sldLayoutId id="2147483771" r:id="rId9"/>
    <p:sldLayoutId id="2147483824" r:id="rId10"/>
    <p:sldLayoutId id="2147483840" r:id="rId11"/>
    <p:sldLayoutId id="2147483809" r:id="rId12"/>
    <p:sldLayoutId id="2147483742" r:id="rId13"/>
    <p:sldLayoutId id="2147483798" r:id="rId14"/>
    <p:sldLayoutId id="2147483845" r:id="rId15"/>
    <p:sldLayoutId id="2147483846" r:id="rId16"/>
    <p:sldLayoutId id="2147483847" r:id="rId17"/>
    <p:sldLayoutId id="2147483848" r:id="rId18"/>
    <p:sldLayoutId id="2147483849" r:id="rId19"/>
    <p:sldLayoutId id="2147483865" r:id="rId20"/>
    <p:sldLayoutId id="2147483866" r:id="rId21"/>
    <p:sldLayoutId id="2147483821" r:id="rId22"/>
    <p:sldLayoutId id="2147483770" r:id="rId23"/>
    <p:sldLayoutId id="2147483860" r:id="rId24"/>
    <p:sldLayoutId id="2147483861" r:id="rId25"/>
    <p:sldLayoutId id="2147483862" r:id="rId26"/>
    <p:sldLayoutId id="2147483823" r:id="rId27"/>
    <p:sldLayoutId id="2147483863" r:id="rId28"/>
    <p:sldLayoutId id="2147483820" r:id="rId29"/>
    <p:sldLayoutId id="2147483842" r:id="rId30"/>
    <p:sldLayoutId id="2147483867" r:id="rId31"/>
    <p:sldLayoutId id="2147483843" r:id="rId32"/>
    <p:sldLayoutId id="2147483844" r:id="rId33"/>
    <p:sldLayoutId id="2147483817" r:id="rId34"/>
    <p:sldLayoutId id="2147483769" r:id="rId35"/>
    <p:sldLayoutId id="2147483724" r:id="rId36"/>
    <p:sldLayoutId id="2147483725" r:id="rId37"/>
    <p:sldLayoutId id="2147483825" r:id="rId38"/>
    <p:sldLayoutId id="2147483850" r:id="rId39"/>
    <p:sldLayoutId id="2147483726" r:id="rId40"/>
    <p:sldLayoutId id="2147483826" r:id="rId41"/>
    <p:sldLayoutId id="2147483851" r:id="rId42"/>
    <p:sldLayoutId id="2147483744" r:id="rId43"/>
    <p:sldLayoutId id="2147483745" r:id="rId44"/>
    <p:sldLayoutId id="2147483746" r:id="rId45"/>
    <p:sldLayoutId id="2147483768" r:id="rId46"/>
    <p:sldLayoutId id="2147483711" r:id="rId47"/>
    <p:sldLayoutId id="2147483712" r:id="rId48"/>
    <p:sldLayoutId id="2147483713" r:id="rId49"/>
    <p:sldLayoutId id="2147483714" r:id="rId50"/>
    <p:sldLayoutId id="2147483785" r:id="rId51"/>
    <p:sldLayoutId id="2147483852" r:id="rId52"/>
    <p:sldLayoutId id="2147483853" r:id="rId53"/>
    <p:sldLayoutId id="2147483854" r:id="rId54"/>
    <p:sldLayoutId id="2147483855" r:id="rId55"/>
    <p:sldLayoutId id="2147483856" r:id="rId56"/>
    <p:sldLayoutId id="2147483857" r:id="rId57"/>
    <p:sldLayoutId id="2147483864" r:id="rId58"/>
    <p:sldLayoutId id="2147483773" r:id="rId59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31.xml"/><Relationship Id="rId13" Type="http://schemas.openxmlformats.org/officeDocument/2006/relationships/slideLayout" Target="../slideLayouts/slideLayout12.xml"/><Relationship Id="rId3" Type="http://schemas.openxmlformats.org/officeDocument/2006/relationships/tags" Target="../tags/tag26.xml"/><Relationship Id="rId7" Type="http://schemas.openxmlformats.org/officeDocument/2006/relationships/tags" Target="../tags/tag30.xml"/><Relationship Id="rId12" Type="http://schemas.openxmlformats.org/officeDocument/2006/relationships/tags" Target="../tags/tag35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tags" Target="../tags/tag29.xml"/><Relationship Id="rId11" Type="http://schemas.openxmlformats.org/officeDocument/2006/relationships/tags" Target="../tags/tag34.xml"/><Relationship Id="rId5" Type="http://schemas.openxmlformats.org/officeDocument/2006/relationships/tags" Target="../tags/tag28.xml"/><Relationship Id="rId10" Type="http://schemas.openxmlformats.org/officeDocument/2006/relationships/tags" Target="../tags/tag33.xml"/><Relationship Id="rId4" Type="http://schemas.openxmlformats.org/officeDocument/2006/relationships/tags" Target="../tags/tag27.xml"/><Relationship Id="rId9" Type="http://schemas.openxmlformats.org/officeDocument/2006/relationships/tags" Target="../tags/tag32.xml"/><Relationship Id="rId14" Type="http://schemas.openxmlformats.org/officeDocument/2006/relationships/notesSlide" Target="../notesSlides/notesSlide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40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slideLayout" Target="../slideLayouts/slideLayout12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2" Type="http://schemas.openxmlformats.org/officeDocument/2006/relationships/tags" Target="../tags/tag2.xml"/><Relationship Id="rId16" Type="http://schemas.openxmlformats.org/officeDocument/2006/relationships/hyperlink" Target="http://www.royalmailwholesale.com/" TargetMode="Externa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image" Target="../media/image39.svg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38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slideLayout" Target="../slideLayouts/slideLayout42.xml"/><Relationship Id="rId5" Type="http://schemas.openxmlformats.org/officeDocument/2006/relationships/tags" Target="../tags/tag17.xml"/><Relationship Id="rId4" Type="http://schemas.openxmlformats.org/officeDocument/2006/relationships/tags" Target="../tags/tag16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13" Type="http://schemas.openxmlformats.org/officeDocument/2006/relationships/image" Target="../media/image45.svg"/><Relationship Id="rId3" Type="http://schemas.openxmlformats.org/officeDocument/2006/relationships/tags" Target="../tags/tag20.xml"/><Relationship Id="rId7" Type="http://schemas.openxmlformats.org/officeDocument/2006/relationships/slideLayout" Target="../slideLayouts/slideLayout12.xml"/><Relationship Id="rId12" Type="http://schemas.openxmlformats.org/officeDocument/2006/relationships/image" Target="../media/image44.png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tags" Target="../tags/tag23.xml"/><Relationship Id="rId11" Type="http://schemas.openxmlformats.org/officeDocument/2006/relationships/image" Target="../media/image43.svg"/><Relationship Id="rId5" Type="http://schemas.openxmlformats.org/officeDocument/2006/relationships/tags" Target="../tags/tag22.xml"/><Relationship Id="rId10" Type="http://schemas.openxmlformats.org/officeDocument/2006/relationships/image" Target="../media/image42.png"/><Relationship Id="rId4" Type="http://schemas.openxmlformats.org/officeDocument/2006/relationships/tags" Target="../tags/tag21.xml"/><Relationship Id="rId9" Type="http://schemas.openxmlformats.org/officeDocument/2006/relationships/image" Target="../media/image41.svg"/><Relationship Id="rId14" Type="http://schemas.openxmlformats.org/officeDocument/2006/relationships/hyperlink" Target="https://www.royalmailwholesale.com/testing-and-innovation" TargetMode="Externa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C1D005-C419-9846-4376-2FAF467B67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OYAL MAIL CHARITY INCENTIV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B2B0D66-E547-28A6-4CDE-53D45E5D757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Introducing an incentive for the Charity Sector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B22D16E-62DD-D922-5131-62E8842B0CE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/>
              <a:t>May 2025</a:t>
            </a:r>
          </a:p>
        </p:txBody>
      </p:sp>
    </p:spTree>
    <p:extLst>
      <p:ext uri="{BB962C8B-B14F-4D97-AF65-F5344CB8AC3E}">
        <p14:creationId xmlns:p14="http://schemas.microsoft.com/office/powerpoint/2010/main" val="203455296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>
            <a:extLst>
              <a:ext uri="{FF2B5EF4-FFF2-40B4-BE49-F238E27FC236}">
                <a16:creationId xmlns:a16="http://schemas.microsoft.com/office/drawing/2014/main" id="{26E622B8-6829-3174-C598-D039DF8A62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Frequently asked question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8BB3B99E-118A-8E88-6223-62515E30086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42FC1F5-43A1-C00D-3B29-F44EB346C0F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10</a:t>
            </a:fld>
            <a:endParaRPr lang="en-GB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1CB50A88-E04A-7627-26E1-A38E7A78185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Full terms and conditions apply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E7E967C-46F6-D2AC-97EC-74F4DC528228}"/>
              </a:ext>
            </a:extLst>
          </p:cNvPr>
          <p:cNvSpPr/>
          <p:nvPr/>
        </p:nvSpPr>
        <p:spPr>
          <a:xfrm>
            <a:off x="1050534" y="2499688"/>
            <a:ext cx="3805200" cy="790928"/>
          </a:xfrm>
          <a:prstGeom prst="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Can I use postcard formats? 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4CDF65E-0872-C40A-5A41-CCF1ED810017}"/>
              </a:ext>
            </a:extLst>
          </p:cNvPr>
          <p:cNvSpPr/>
          <p:nvPr/>
        </p:nvSpPr>
        <p:spPr>
          <a:xfrm>
            <a:off x="4855735" y="2499688"/>
            <a:ext cx="6527748" cy="790928"/>
          </a:xfrm>
          <a:prstGeom prst="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1800"/>
              </a:lnSpc>
            </a:pPr>
            <a:r>
              <a:rPr lang="en-US" sz="1600" dirty="0">
                <a:solidFill>
                  <a:schemeClr val="tx1"/>
                </a:solidFill>
              </a:rPr>
              <a:t>Traditional postcards are not eligible, please see the Machinable Postcard and One-Piece Mailer Guide for options to use with incentives at www.royalmailwholesale.com/incentives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9408AC29-7B9B-0B87-6CA9-3AF952C432F1}"/>
              </a:ext>
            </a:extLst>
          </p:cNvPr>
          <p:cNvSpPr/>
          <p:nvPr/>
        </p:nvSpPr>
        <p:spPr>
          <a:xfrm>
            <a:off x="1050534" y="3286730"/>
            <a:ext cx="3805200" cy="790928"/>
          </a:xfrm>
          <a:prstGeom prst="rect">
            <a:avLst/>
          </a:prstGeom>
          <a:noFill/>
          <a:ln w="381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What will happen if I do not meet the minimum volume entry requirement?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C4A244CE-7A8D-EF53-081E-DB51A0AF1942}"/>
              </a:ext>
            </a:extLst>
          </p:cNvPr>
          <p:cNvSpPr/>
          <p:nvPr/>
        </p:nvSpPr>
        <p:spPr>
          <a:xfrm>
            <a:off x="4855735" y="3286730"/>
            <a:ext cx="6527748" cy="790928"/>
          </a:xfrm>
          <a:prstGeom prst="rect">
            <a:avLst/>
          </a:prstGeom>
          <a:noFill/>
          <a:ln w="381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1800"/>
              </a:lnSpc>
            </a:pPr>
            <a:r>
              <a:rPr lang="en-US" sz="1600" dirty="0">
                <a:solidFill>
                  <a:schemeClr val="tx1"/>
                </a:solidFill>
              </a:rPr>
              <a:t>You will not qualify for any postage credit.  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3C152723-5813-AB34-FD19-B3B369932435}"/>
              </a:ext>
            </a:extLst>
          </p:cNvPr>
          <p:cNvSpPr/>
          <p:nvPr/>
        </p:nvSpPr>
        <p:spPr>
          <a:xfrm>
            <a:off x="1050534" y="4084282"/>
            <a:ext cx="3805200" cy="790928"/>
          </a:xfrm>
          <a:prstGeom prst="rect">
            <a:avLst/>
          </a:prstGeom>
          <a:noFill/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How long will my postage credit vouchers be valid for?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D7C3EC50-50BB-DFB8-7788-FF2DF6EDD741}"/>
              </a:ext>
            </a:extLst>
          </p:cNvPr>
          <p:cNvSpPr/>
          <p:nvPr/>
        </p:nvSpPr>
        <p:spPr>
          <a:xfrm>
            <a:off x="4855735" y="4084282"/>
            <a:ext cx="6527748" cy="790928"/>
          </a:xfrm>
          <a:prstGeom prst="rect">
            <a:avLst/>
          </a:prstGeom>
          <a:noFill/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1800"/>
              </a:lnSpc>
            </a:pPr>
            <a:r>
              <a:rPr lang="en-US" sz="1600" dirty="0">
                <a:solidFill>
                  <a:schemeClr val="tx1"/>
                </a:solidFill>
              </a:rPr>
              <a:t>Postage credit vouchers are valid for 12 months from date of issue. </a:t>
            </a:r>
          </a:p>
        </p:txBody>
      </p:sp>
      <p:grpSp>
        <p:nvGrpSpPr>
          <p:cNvPr id="24" name="Help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8971034A-9293-3AC5-F251-97205FA7C916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399636" y="2655207"/>
            <a:ext cx="541434" cy="542925"/>
            <a:chOff x="44" y="44"/>
            <a:chExt cx="363" cy="364"/>
          </a:xfrm>
          <a:solidFill>
            <a:schemeClr val="accent1"/>
          </a:solidFill>
        </p:grpSpPr>
        <p:sp>
          <p:nvSpPr>
            <p:cNvPr id="25" name="Help">
              <a:extLst>
                <a:ext uri="{FF2B5EF4-FFF2-40B4-BE49-F238E27FC236}">
                  <a16:creationId xmlns:a16="http://schemas.microsoft.com/office/drawing/2014/main" id="{31143841-5C00-E870-1D89-CFAEE610FEFB}"/>
                </a:ext>
              </a:extLst>
            </p:cNvPr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208" y="281"/>
              <a:ext cx="36" cy="37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" name="Help">
              <a:extLst>
                <a:ext uri="{FF2B5EF4-FFF2-40B4-BE49-F238E27FC236}">
                  <a16:creationId xmlns:a16="http://schemas.microsoft.com/office/drawing/2014/main" id="{689E05CC-AB16-777F-2083-3D37EE72BCBB}"/>
                </a:ext>
              </a:extLst>
            </p:cNvPr>
            <p:cNvSpPr>
              <a:spLocks noEditPoints="1"/>
            </p:cNvSpPr>
            <p:nvPr>
              <p:custDataLst>
                <p:tags r:id="rId11"/>
              </p:custDataLst>
            </p:nvPr>
          </p:nvSpPr>
          <p:spPr bwMode="auto">
            <a:xfrm>
              <a:off x="44" y="44"/>
              <a:ext cx="363" cy="364"/>
            </a:xfrm>
            <a:custGeom>
              <a:avLst/>
              <a:gdLst>
                <a:gd name="T0" fmla="*/ 125 w 250"/>
                <a:gd name="T1" fmla="*/ 25 h 250"/>
                <a:gd name="T2" fmla="*/ 225 w 250"/>
                <a:gd name="T3" fmla="*/ 125 h 250"/>
                <a:gd name="T4" fmla="*/ 125 w 250"/>
                <a:gd name="T5" fmla="*/ 225 h 250"/>
                <a:gd name="T6" fmla="*/ 25 w 250"/>
                <a:gd name="T7" fmla="*/ 125 h 250"/>
                <a:gd name="T8" fmla="*/ 125 w 250"/>
                <a:gd name="T9" fmla="*/ 25 h 250"/>
                <a:gd name="T10" fmla="*/ 125 w 250"/>
                <a:gd name="T11" fmla="*/ 0 h 250"/>
                <a:gd name="T12" fmla="*/ 0 w 250"/>
                <a:gd name="T13" fmla="*/ 125 h 250"/>
                <a:gd name="T14" fmla="*/ 125 w 250"/>
                <a:gd name="T15" fmla="*/ 250 h 250"/>
                <a:gd name="T16" fmla="*/ 250 w 250"/>
                <a:gd name="T17" fmla="*/ 125 h 250"/>
                <a:gd name="T18" fmla="*/ 125 w 250"/>
                <a:gd name="T19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0" h="250">
                  <a:moveTo>
                    <a:pt x="125" y="25"/>
                  </a:moveTo>
                  <a:cubicBezTo>
                    <a:pt x="180" y="25"/>
                    <a:pt x="225" y="70"/>
                    <a:pt x="225" y="125"/>
                  </a:cubicBezTo>
                  <a:cubicBezTo>
                    <a:pt x="225" y="180"/>
                    <a:pt x="180" y="225"/>
                    <a:pt x="125" y="225"/>
                  </a:cubicBezTo>
                  <a:cubicBezTo>
                    <a:pt x="70" y="225"/>
                    <a:pt x="25" y="180"/>
                    <a:pt x="25" y="125"/>
                  </a:cubicBezTo>
                  <a:cubicBezTo>
                    <a:pt x="25" y="70"/>
                    <a:pt x="70" y="25"/>
                    <a:pt x="125" y="25"/>
                  </a:cubicBezTo>
                  <a:close/>
                  <a:moveTo>
                    <a:pt x="125" y="0"/>
                  </a:moveTo>
                  <a:cubicBezTo>
                    <a:pt x="56" y="0"/>
                    <a:pt x="0" y="56"/>
                    <a:pt x="0" y="125"/>
                  </a:cubicBezTo>
                  <a:cubicBezTo>
                    <a:pt x="0" y="194"/>
                    <a:pt x="56" y="250"/>
                    <a:pt x="125" y="250"/>
                  </a:cubicBezTo>
                  <a:cubicBezTo>
                    <a:pt x="194" y="250"/>
                    <a:pt x="250" y="194"/>
                    <a:pt x="250" y="125"/>
                  </a:cubicBezTo>
                  <a:cubicBezTo>
                    <a:pt x="250" y="56"/>
                    <a:pt x="194" y="0"/>
                    <a:pt x="12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Help">
              <a:extLst>
                <a:ext uri="{FF2B5EF4-FFF2-40B4-BE49-F238E27FC236}">
                  <a16:creationId xmlns:a16="http://schemas.microsoft.com/office/drawing/2014/main" id="{61821D1A-F83C-DDB6-D547-2D721DB8EBFB}"/>
                </a:ext>
              </a:extLst>
            </p:cNvPr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172" y="136"/>
              <a:ext cx="106" cy="126"/>
            </a:xfrm>
            <a:custGeom>
              <a:avLst/>
              <a:gdLst>
                <a:gd name="T0" fmla="*/ 25 w 73"/>
                <a:gd name="T1" fmla="*/ 87 h 87"/>
                <a:gd name="T2" fmla="*/ 38 w 73"/>
                <a:gd name="T3" fmla="*/ 57 h 87"/>
                <a:gd name="T4" fmla="*/ 46 w 73"/>
                <a:gd name="T5" fmla="*/ 47 h 87"/>
                <a:gd name="T6" fmla="*/ 48 w 73"/>
                <a:gd name="T7" fmla="*/ 34 h 87"/>
                <a:gd name="T8" fmla="*/ 44 w 73"/>
                <a:gd name="T9" fmla="*/ 22 h 87"/>
                <a:gd name="T10" fmla="*/ 34 w 73"/>
                <a:gd name="T11" fmla="*/ 17 h 87"/>
                <a:gd name="T12" fmla="*/ 22 w 73"/>
                <a:gd name="T13" fmla="*/ 36 h 87"/>
                <a:gd name="T14" fmla="*/ 0 w 73"/>
                <a:gd name="T15" fmla="*/ 36 h 87"/>
                <a:gd name="T16" fmla="*/ 0 w 73"/>
                <a:gd name="T17" fmla="*/ 31 h 87"/>
                <a:gd name="T18" fmla="*/ 10 w 73"/>
                <a:gd name="T19" fmla="*/ 6 h 87"/>
                <a:gd name="T20" fmla="*/ 36 w 73"/>
                <a:gd name="T21" fmla="*/ 0 h 87"/>
                <a:gd name="T22" fmla="*/ 63 w 73"/>
                <a:gd name="T23" fmla="*/ 10 h 87"/>
                <a:gd name="T24" fmla="*/ 73 w 73"/>
                <a:gd name="T25" fmla="*/ 35 h 87"/>
                <a:gd name="T26" fmla="*/ 48 w 73"/>
                <a:gd name="T27" fmla="*/ 87 h 87"/>
                <a:gd name="T28" fmla="*/ 25 w 73"/>
                <a:gd name="T29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3" h="87">
                  <a:moveTo>
                    <a:pt x="25" y="87"/>
                  </a:moveTo>
                  <a:cubicBezTo>
                    <a:pt x="25" y="70"/>
                    <a:pt x="32" y="63"/>
                    <a:pt x="38" y="57"/>
                  </a:cubicBezTo>
                  <a:cubicBezTo>
                    <a:pt x="42" y="55"/>
                    <a:pt x="45" y="51"/>
                    <a:pt x="46" y="47"/>
                  </a:cubicBezTo>
                  <a:cubicBezTo>
                    <a:pt x="48" y="43"/>
                    <a:pt x="48" y="39"/>
                    <a:pt x="48" y="34"/>
                  </a:cubicBezTo>
                  <a:cubicBezTo>
                    <a:pt x="48" y="29"/>
                    <a:pt x="47" y="26"/>
                    <a:pt x="44" y="22"/>
                  </a:cubicBezTo>
                  <a:cubicBezTo>
                    <a:pt x="42" y="20"/>
                    <a:pt x="39" y="17"/>
                    <a:pt x="34" y="17"/>
                  </a:cubicBezTo>
                  <a:cubicBezTo>
                    <a:pt x="31" y="17"/>
                    <a:pt x="22" y="18"/>
                    <a:pt x="22" y="36"/>
                  </a:cubicBezTo>
                  <a:lnTo>
                    <a:pt x="0" y="36"/>
                  </a:lnTo>
                  <a:lnTo>
                    <a:pt x="0" y="31"/>
                  </a:lnTo>
                  <a:cubicBezTo>
                    <a:pt x="0" y="19"/>
                    <a:pt x="3" y="12"/>
                    <a:pt x="10" y="6"/>
                  </a:cubicBezTo>
                  <a:cubicBezTo>
                    <a:pt x="17" y="2"/>
                    <a:pt x="26" y="0"/>
                    <a:pt x="36" y="0"/>
                  </a:cubicBezTo>
                  <a:cubicBezTo>
                    <a:pt x="48" y="0"/>
                    <a:pt x="57" y="2"/>
                    <a:pt x="63" y="10"/>
                  </a:cubicBezTo>
                  <a:cubicBezTo>
                    <a:pt x="70" y="17"/>
                    <a:pt x="73" y="25"/>
                    <a:pt x="73" y="35"/>
                  </a:cubicBezTo>
                  <a:cubicBezTo>
                    <a:pt x="73" y="65"/>
                    <a:pt x="48" y="66"/>
                    <a:pt x="48" y="87"/>
                  </a:cubicBezTo>
                  <a:lnTo>
                    <a:pt x="25" y="8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8" name="Help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60043B40-B2ED-7E5B-22BE-C150FEB19C58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auto">
          <a:xfrm>
            <a:off x="399636" y="3438226"/>
            <a:ext cx="541434" cy="542925"/>
            <a:chOff x="44" y="44"/>
            <a:chExt cx="363" cy="364"/>
          </a:xfrm>
          <a:solidFill>
            <a:schemeClr val="tx2"/>
          </a:solidFill>
        </p:grpSpPr>
        <p:sp>
          <p:nvSpPr>
            <p:cNvPr id="29" name="Help">
              <a:extLst>
                <a:ext uri="{FF2B5EF4-FFF2-40B4-BE49-F238E27FC236}">
                  <a16:creationId xmlns:a16="http://schemas.microsoft.com/office/drawing/2014/main" id="{70E3E9F8-00C2-F4BE-93F1-5F4BDBCF5D92}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208" y="281"/>
              <a:ext cx="36" cy="37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Help">
              <a:extLst>
                <a:ext uri="{FF2B5EF4-FFF2-40B4-BE49-F238E27FC236}">
                  <a16:creationId xmlns:a16="http://schemas.microsoft.com/office/drawing/2014/main" id="{E8114257-C533-05F1-E6E3-F6497C6E4C97}"/>
                </a:ext>
              </a:extLst>
            </p:cNvPr>
            <p:cNvSpPr>
              <a:spLocks noEditPoints="1"/>
            </p:cNvSpPr>
            <p:nvPr>
              <p:custDataLst>
                <p:tags r:id="rId8"/>
              </p:custDataLst>
            </p:nvPr>
          </p:nvSpPr>
          <p:spPr bwMode="auto">
            <a:xfrm>
              <a:off x="44" y="44"/>
              <a:ext cx="363" cy="364"/>
            </a:xfrm>
            <a:custGeom>
              <a:avLst/>
              <a:gdLst>
                <a:gd name="T0" fmla="*/ 125 w 250"/>
                <a:gd name="T1" fmla="*/ 25 h 250"/>
                <a:gd name="T2" fmla="*/ 225 w 250"/>
                <a:gd name="T3" fmla="*/ 125 h 250"/>
                <a:gd name="T4" fmla="*/ 125 w 250"/>
                <a:gd name="T5" fmla="*/ 225 h 250"/>
                <a:gd name="T6" fmla="*/ 25 w 250"/>
                <a:gd name="T7" fmla="*/ 125 h 250"/>
                <a:gd name="T8" fmla="*/ 125 w 250"/>
                <a:gd name="T9" fmla="*/ 25 h 250"/>
                <a:gd name="T10" fmla="*/ 125 w 250"/>
                <a:gd name="T11" fmla="*/ 0 h 250"/>
                <a:gd name="T12" fmla="*/ 0 w 250"/>
                <a:gd name="T13" fmla="*/ 125 h 250"/>
                <a:gd name="T14" fmla="*/ 125 w 250"/>
                <a:gd name="T15" fmla="*/ 250 h 250"/>
                <a:gd name="T16" fmla="*/ 250 w 250"/>
                <a:gd name="T17" fmla="*/ 125 h 250"/>
                <a:gd name="T18" fmla="*/ 125 w 250"/>
                <a:gd name="T19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0" h="250">
                  <a:moveTo>
                    <a:pt x="125" y="25"/>
                  </a:moveTo>
                  <a:cubicBezTo>
                    <a:pt x="180" y="25"/>
                    <a:pt x="225" y="70"/>
                    <a:pt x="225" y="125"/>
                  </a:cubicBezTo>
                  <a:cubicBezTo>
                    <a:pt x="225" y="180"/>
                    <a:pt x="180" y="225"/>
                    <a:pt x="125" y="225"/>
                  </a:cubicBezTo>
                  <a:cubicBezTo>
                    <a:pt x="70" y="225"/>
                    <a:pt x="25" y="180"/>
                    <a:pt x="25" y="125"/>
                  </a:cubicBezTo>
                  <a:cubicBezTo>
                    <a:pt x="25" y="70"/>
                    <a:pt x="70" y="25"/>
                    <a:pt x="125" y="25"/>
                  </a:cubicBezTo>
                  <a:close/>
                  <a:moveTo>
                    <a:pt x="125" y="0"/>
                  </a:moveTo>
                  <a:cubicBezTo>
                    <a:pt x="56" y="0"/>
                    <a:pt x="0" y="56"/>
                    <a:pt x="0" y="125"/>
                  </a:cubicBezTo>
                  <a:cubicBezTo>
                    <a:pt x="0" y="194"/>
                    <a:pt x="56" y="250"/>
                    <a:pt x="125" y="250"/>
                  </a:cubicBezTo>
                  <a:cubicBezTo>
                    <a:pt x="194" y="250"/>
                    <a:pt x="250" y="194"/>
                    <a:pt x="250" y="125"/>
                  </a:cubicBezTo>
                  <a:cubicBezTo>
                    <a:pt x="250" y="56"/>
                    <a:pt x="194" y="0"/>
                    <a:pt x="12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" name="Help">
              <a:extLst>
                <a:ext uri="{FF2B5EF4-FFF2-40B4-BE49-F238E27FC236}">
                  <a16:creationId xmlns:a16="http://schemas.microsoft.com/office/drawing/2014/main" id="{4FCD5282-34B5-B97D-8933-552BDB43A06B}"/>
                </a:ext>
              </a:extLst>
            </p:cNvPr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172" y="136"/>
              <a:ext cx="106" cy="126"/>
            </a:xfrm>
            <a:custGeom>
              <a:avLst/>
              <a:gdLst>
                <a:gd name="T0" fmla="*/ 25 w 73"/>
                <a:gd name="T1" fmla="*/ 87 h 87"/>
                <a:gd name="T2" fmla="*/ 38 w 73"/>
                <a:gd name="T3" fmla="*/ 57 h 87"/>
                <a:gd name="T4" fmla="*/ 46 w 73"/>
                <a:gd name="T5" fmla="*/ 47 h 87"/>
                <a:gd name="T6" fmla="*/ 48 w 73"/>
                <a:gd name="T7" fmla="*/ 34 h 87"/>
                <a:gd name="T8" fmla="*/ 44 w 73"/>
                <a:gd name="T9" fmla="*/ 22 h 87"/>
                <a:gd name="T10" fmla="*/ 34 w 73"/>
                <a:gd name="T11" fmla="*/ 17 h 87"/>
                <a:gd name="T12" fmla="*/ 22 w 73"/>
                <a:gd name="T13" fmla="*/ 36 h 87"/>
                <a:gd name="T14" fmla="*/ 0 w 73"/>
                <a:gd name="T15" fmla="*/ 36 h 87"/>
                <a:gd name="T16" fmla="*/ 0 w 73"/>
                <a:gd name="T17" fmla="*/ 31 h 87"/>
                <a:gd name="T18" fmla="*/ 10 w 73"/>
                <a:gd name="T19" fmla="*/ 6 h 87"/>
                <a:gd name="T20" fmla="*/ 36 w 73"/>
                <a:gd name="T21" fmla="*/ 0 h 87"/>
                <a:gd name="T22" fmla="*/ 63 w 73"/>
                <a:gd name="T23" fmla="*/ 10 h 87"/>
                <a:gd name="T24" fmla="*/ 73 w 73"/>
                <a:gd name="T25" fmla="*/ 35 h 87"/>
                <a:gd name="T26" fmla="*/ 48 w 73"/>
                <a:gd name="T27" fmla="*/ 87 h 87"/>
                <a:gd name="T28" fmla="*/ 25 w 73"/>
                <a:gd name="T29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3" h="87">
                  <a:moveTo>
                    <a:pt x="25" y="87"/>
                  </a:moveTo>
                  <a:cubicBezTo>
                    <a:pt x="25" y="70"/>
                    <a:pt x="32" y="63"/>
                    <a:pt x="38" y="57"/>
                  </a:cubicBezTo>
                  <a:cubicBezTo>
                    <a:pt x="42" y="55"/>
                    <a:pt x="45" y="51"/>
                    <a:pt x="46" y="47"/>
                  </a:cubicBezTo>
                  <a:cubicBezTo>
                    <a:pt x="48" y="43"/>
                    <a:pt x="48" y="39"/>
                    <a:pt x="48" y="34"/>
                  </a:cubicBezTo>
                  <a:cubicBezTo>
                    <a:pt x="48" y="29"/>
                    <a:pt x="47" y="26"/>
                    <a:pt x="44" y="22"/>
                  </a:cubicBezTo>
                  <a:cubicBezTo>
                    <a:pt x="42" y="20"/>
                    <a:pt x="39" y="17"/>
                    <a:pt x="34" y="17"/>
                  </a:cubicBezTo>
                  <a:cubicBezTo>
                    <a:pt x="31" y="17"/>
                    <a:pt x="22" y="18"/>
                    <a:pt x="22" y="36"/>
                  </a:cubicBezTo>
                  <a:lnTo>
                    <a:pt x="0" y="36"/>
                  </a:lnTo>
                  <a:lnTo>
                    <a:pt x="0" y="31"/>
                  </a:lnTo>
                  <a:cubicBezTo>
                    <a:pt x="0" y="19"/>
                    <a:pt x="3" y="12"/>
                    <a:pt x="10" y="6"/>
                  </a:cubicBezTo>
                  <a:cubicBezTo>
                    <a:pt x="17" y="2"/>
                    <a:pt x="26" y="0"/>
                    <a:pt x="36" y="0"/>
                  </a:cubicBezTo>
                  <a:cubicBezTo>
                    <a:pt x="48" y="0"/>
                    <a:pt x="57" y="2"/>
                    <a:pt x="63" y="10"/>
                  </a:cubicBezTo>
                  <a:cubicBezTo>
                    <a:pt x="70" y="17"/>
                    <a:pt x="73" y="25"/>
                    <a:pt x="73" y="35"/>
                  </a:cubicBezTo>
                  <a:cubicBezTo>
                    <a:pt x="73" y="65"/>
                    <a:pt x="48" y="66"/>
                    <a:pt x="48" y="87"/>
                  </a:cubicBezTo>
                  <a:lnTo>
                    <a:pt x="25" y="8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32" name="Help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91E67287-0CE3-4A34-30D9-77F7F1F4FC6C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399636" y="4221246"/>
            <a:ext cx="541434" cy="542925"/>
            <a:chOff x="44" y="44"/>
            <a:chExt cx="363" cy="364"/>
          </a:xfrm>
          <a:solidFill>
            <a:schemeClr val="tx1"/>
          </a:solidFill>
        </p:grpSpPr>
        <p:sp>
          <p:nvSpPr>
            <p:cNvPr id="33" name="Help">
              <a:extLst>
                <a:ext uri="{FF2B5EF4-FFF2-40B4-BE49-F238E27FC236}">
                  <a16:creationId xmlns:a16="http://schemas.microsoft.com/office/drawing/2014/main" id="{3118CAFD-7202-5408-5413-4B22D15897F7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208" y="281"/>
              <a:ext cx="36" cy="37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Help">
              <a:extLst>
                <a:ext uri="{FF2B5EF4-FFF2-40B4-BE49-F238E27FC236}">
                  <a16:creationId xmlns:a16="http://schemas.microsoft.com/office/drawing/2014/main" id="{F14AC029-92B0-8DB3-B5AD-D9CFBB288D8A}"/>
                </a:ext>
              </a:extLst>
            </p:cNvPr>
            <p:cNvSpPr>
              <a:spLocks noEditPoints="1"/>
            </p:cNvSpPr>
            <p:nvPr>
              <p:custDataLst>
                <p:tags r:id="rId5"/>
              </p:custDataLst>
            </p:nvPr>
          </p:nvSpPr>
          <p:spPr bwMode="auto">
            <a:xfrm>
              <a:off x="44" y="44"/>
              <a:ext cx="363" cy="364"/>
            </a:xfrm>
            <a:custGeom>
              <a:avLst/>
              <a:gdLst>
                <a:gd name="T0" fmla="*/ 125 w 250"/>
                <a:gd name="T1" fmla="*/ 25 h 250"/>
                <a:gd name="T2" fmla="*/ 225 w 250"/>
                <a:gd name="T3" fmla="*/ 125 h 250"/>
                <a:gd name="T4" fmla="*/ 125 w 250"/>
                <a:gd name="T5" fmla="*/ 225 h 250"/>
                <a:gd name="T6" fmla="*/ 25 w 250"/>
                <a:gd name="T7" fmla="*/ 125 h 250"/>
                <a:gd name="T8" fmla="*/ 125 w 250"/>
                <a:gd name="T9" fmla="*/ 25 h 250"/>
                <a:gd name="T10" fmla="*/ 125 w 250"/>
                <a:gd name="T11" fmla="*/ 0 h 250"/>
                <a:gd name="T12" fmla="*/ 0 w 250"/>
                <a:gd name="T13" fmla="*/ 125 h 250"/>
                <a:gd name="T14" fmla="*/ 125 w 250"/>
                <a:gd name="T15" fmla="*/ 250 h 250"/>
                <a:gd name="T16" fmla="*/ 250 w 250"/>
                <a:gd name="T17" fmla="*/ 125 h 250"/>
                <a:gd name="T18" fmla="*/ 125 w 250"/>
                <a:gd name="T19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0" h="250">
                  <a:moveTo>
                    <a:pt x="125" y="25"/>
                  </a:moveTo>
                  <a:cubicBezTo>
                    <a:pt x="180" y="25"/>
                    <a:pt x="225" y="70"/>
                    <a:pt x="225" y="125"/>
                  </a:cubicBezTo>
                  <a:cubicBezTo>
                    <a:pt x="225" y="180"/>
                    <a:pt x="180" y="225"/>
                    <a:pt x="125" y="225"/>
                  </a:cubicBezTo>
                  <a:cubicBezTo>
                    <a:pt x="70" y="225"/>
                    <a:pt x="25" y="180"/>
                    <a:pt x="25" y="125"/>
                  </a:cubicBezTo>
                  <a:cubicBezTo>
                    <a:pt x="25" y="70"/>
                    <a:pt x="70" y="25"/>
                    <a:pt x="125" y="25"/>
                  </a:cubicBezTo>
                  <a:close/>
                  <a:moveTo>
                    <a:pt x="125" y="0"/>
                  </a:moveTo>
                  <a:cubicBezTo>
                    <a:pt x="56" y="0"/>
                    <a:pt x="0" y="56"/>
                    <a:pt x="0" y="125"/>
                  </a:cubicBezTo>
                  <a:cubicBezTo>
                    <a:pt x="0" y="194"/>
                    <a:pt x="56" y="250"/>
                    <a:pt x="125" y="250"/>
                  </a:cubicBezTo>
                  <a:cubicBezTo>
                    <a:pt x="194" y="250"/>
                    <a:pt x="250" y="194"/>
                    <a:pt x="250" y="125"/>
                  </a:cubicBezTo>
                  <a:cubicBezTo>
                    <a:pt x="250" y="56"/>
                    <a:pt x="194" y="0"/>
                    <a:pt x="12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" name="Help">
              <a:extLst>
                <a:ext uri="{FF2B5EF4-FFF2-40B4-BE49-F238E27FC236}">
                  <a16:creationId xmlns:a16="http://schemas.microsoft.com/office/drawing/2014/main" id="{5DD683EB-E957-59A6-5DF7-A9F13411FB13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172" y="136"/>
              <a:ext cx="106" cy="126"/>
            </a:xfrm>
            <a:custGeom>
              <a:avLst/>
              <a:gdLst>
                <a:gd name="T0" fmla="*/ 25 w 73"/>
                <a:gd name="T1" fmla="*/ 87 h 87"/>
                <a:gd name="T2" fmla="*/ 38 w 73"/>
                <a:gd name="T3" fmla="*/ 57 h 87"/>
                <a:gd name="T4" fmla="*/ 46 w 73"/>
                <a:gd name="T5" fmla="*/ 47 h 87"/>
                <a:gd name="T6" fmla="*/ 48 w 73"/>
                <a:gd name="T7" fmla="*/ 34 h 87"/>
                <a:gd name="T8" fmla="*/ 44 w 73"/>
                <a:gd name="T9" fmla="*/ 22 h 87"/>
                <a:gd name="T10" fmla="*/ 34 w 73"/>
                <a:gd name="T11" fmla="*/ 17 h 87"/>
                <a:gd name="T12" fmla="*/ 22 w 73"/>
                <a:gd name="T13" fmla="*/ 36 h 87"/>
                <a:gd name="T14" fmla="*/ 0 w 73"/>
                <a:gd name="T15" fmla="*/ 36 h 87"/>
                <a:gd name="T16" fmla="*/ 0 w 73"/>
                <a:gd name="T17" fmla="*/ 31 h 87"/>
                <a:gd name="T18" fmla="*/ 10 w 73"/>
                <a:gd name="T19" fmla="*/ 6 h 87"/>
                <a:gd name="T20" fmla="*/ 36 w 73"/>
                <a:gd name="T21" fmla="*/ 0 h 87"/>
                <a:gd name="T22" fmla="*/ 63 w 73"/>
                <a:gd name="T23" fmla="*/ 10 h 87"/>
                <a:gd name="T24" fmla="*/ 73 w 73"/>
                <a:gd name="T25" fmla="*/ 35 h 87"/>
                <a:gd name="T26" fmla="*/ 48 w 73"/>
                <a:gd name="T27" fmla="*/ 87 h 87"/>
                <a:gd name="T28" fmla="*/ 25 w 73"/>
                <a:gd name="T29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3" h="87">
                  <a:moveTo>
                    <a:pt x="25" y="87"/>
                  </a:moveTo>
                  <a:cubicBezTo>
                    <a:pt x="25" y="70"/>
                    <a:pt x="32" y="63"/>
                    <a:pt x="38" y="57"/>
                  </a:cubicBezTo>
                  <a:cubicBezTo>
                    <a:pt x="42" y="55"/>
                    <a:pt x="45" y="51"/>
                    <a:pt x="46" y="47"/>
                  </a:cubicBezTo>
                  <a:cubicBezTo>
                    <a:pt x="48" y="43"/>
                    <a:pt x="48" y="39"/>
                    <a:pt x="48" y="34"/>
                  </a:cubicBezTo>
                  <a:cubicBezTo>
                    <a:pt x="48" y="29"/>
                    <a:pt x="47" y="26"/>
                    <a:pt x="44" y="22"/>
                  </a:cubicBezTo>
                  <a:cubicBezTo>
                    <a:pt x="42" y="20"/>
                    <a:pt x="39" y="17"/>
                    <a:pt x="34" y="17"/>
                  </a:cubicBezTo>
                  <a:cubicBezTo>
                    <a:pt x="31" y="17"/>
                    <a:pt x="22" y="18"/>
                    <a:pt x="22" y="36"/>
                  </a:cubicBezTo>
                  <a:lnTo>
                    <a:pt x="0" y="36"/>
                  </a:lnTo>
                  <a:lnTo>
                    <a:pt x="0" y="31"/>
                  </a:lnTo>
                  <a:cubicBezTo>
                    <a:pt x="0" y="19"/>
                    <a:pt x="3" y="12"/>
                    <a:pt x="10" y="6"/>
                  </a:cubicBezTo>
                  <a:cubicBezTo>
                    <a:pt x="17" y="2"/>
                    <a:pt x="26" y="0"/>
                    <a:pt x="36" y="0"/>
                  </a:cubicBezTo>
                  <a:cubicBezTo>
                    <a:pt x="48" y="0"/>
                    <a:pt x="57" y="2"/>
                    <a:pt x="63" y="10"/>
                  </a:cubicBezTo>
                  <a:cubicBezTo>
                    <a:pt x="70" y="17"/>
                    <a:pt x="73" y="25"/>
                    <a:pt x="73" y="35"/>
                  </a:cubicBezTo>
                  <a:cubicBezTo>
                    <a:pt x="73" y="65"/>
                    <a:pt x="48" y="66"/>
                    <a:pt x="48" y="87"/>
                  </a:cubicBezTo>
                  <a:lnTo>
                    <a:pt x="25" y="8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5917579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3FC2AE-4C71-2458-4884-54DD66F1A6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ANK YOU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FD77919-D05D-3144-D494-5D6CA0A0E54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3443924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erson holding a white box&#10;&#10;AI-generated content may be incorrect.">
            <a:extLst>
              <a:ext uri="{FF2B5EF4-FFF2-40B4-BE49-F238E27FC236}">
                <a16:creationId xmlns:a16="http://schemas.microsoft.com/office/drawing/2014/main" id="{E8A040C0-D541-CE59-4ED1-27C7296A2E22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1"/>
          <a:stretch/>
        </p:blipFill>
        <p:spPr>
          <a:xfrm>
            <a:off x="20" y="10"/>
            <a:ext cx="6095983" cy="6857990"/>
          </a:xfrm>
          <a:prstGeom prst="rect">
            <a:avLst/>
          </a:prstGeom>
          <a:noFill/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6088D5E-F56F-8B97-C73B-6B8D60B2E81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3787542D-5C6B-4EB3-96EB-9B37C3D5D2F8}" type="slidenum">
              <a:rPr lang="en-GB" smtClean="0"/>
              <a:pPr>
                <a:spcAft>
                  <a:spcPts val="600"/>
                </a:spcAft>
              </a:pPr>
              <a:t>2</a:t>
            </a:fld>
            <a:endParaRPr lang="en-GB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F4BC71C1-2743-8A35-E58F-8612E2F3F065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480112" y="1783200"/>
            <a:ext cx="5276850" cy="4479925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GB" dirty="0"/>
              <a:t>Charity related communications for when you try incremental mailing volume in your fundraising activity: </a:t>
            </a:r>
          </a:p>
          <a:p>
            <a:r>
              <a:rPr lang="en-GB" dirty="0"/>
              <a:t>Donor acquisition</a:t>
            </a:r>
          </a:p>
          <a:p>
            <a:r>
              <a:rPr lang="en-GB" dirty="0"/>
              <a:t>Legacy communications</a:t>
            </a:r>
          </a:p>
          <a:p>
            <a:r>
              <a:rPr lang="en-GB" dirty="0"/>
              <a:t>Raffle mailings</a:t>
            </a:r>
          </a:p>
          <a:p>
            <a:r>
              <a:rPr lang="en-GB"/>
              <a:t>Event participation mailings</a:t>
            </a:r>
            <a:endParaRPr lang="en-GB" dirty="0"/>
          </a:p>
          <a:p>
            <a:r>
              <a:rPr lang="en-GB" dirty="0"/>
              <a:t>Awareness and brand building activity</a:t>
            </a:r>
          </a:p>
          <a:p>
            <a:endParaRPr lang="en-GB" dirty="0"/>
          </a:p>
          <a:p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8CE4241-7114-C396-7A35-A6C41FA01E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33277" y="377055"/>
            <a:ext cx="5276625" cy="1050665"/>
          </a:xfrm>
        </p:spPr>
        <p:txBody>
          <a:bodyPr>
            <a:normAutofit/>
          </a:bodyPr>
          <a:lstStyle/>
          <a:p>
            <a:pPr>
              <a:lnSpc>
                <a:spcPct val="90000"/>
              </a:lnSpc>
            </a:pPr>
            <a:r>
              <a:rPr lang="en-GB" dirty="0"/>
              <a:t>Incentive Content guidance</a:t>
            </a:r>
            <a:endParaRPr lang="en-GB"/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CB014260-DE9E-6D12-E96A-DC1C1C3BE69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483097" y="6363979"/>
            <a:ext cx="4680000" cy="13316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558325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07E7BFA-DF66-0CD3-28F7-6115471A20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/>
              <a:t>Incentive details</a:t>
            </a:r>
          </a:p>
        </p:txBody>
      </p:sp>
    </p:spTree>
    <p:extLst>
      <p:ext uri="{BB962C8B-B14F-4D97-AF65-F5344CB8AC3E}">
        <p14:creationId xmlns:p14="http://schemas.microsoft.com/office/powerpoint/2010/main" val="97355182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9081A5-A478-D145-2BB2-8DA6D49160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dvertising mai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60C2CC5-6B8B-4F49-91A8-3BFFC1AB142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Test and Innovate Incentive for the Charity secto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16ED6C1-6995-E670-A13A-3E275662EE5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4</a:t>
            </a:fld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7A2CEDF-07DA-3439-7D0F-EE260BAD52F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sz="1100" dirty="0"/>
              <a:t>Full terms and conditions apply</a:t>
            </a:r>
          </a:p>
          <a:p>
            <a:endParaRPr lang="en-GB" dirty="0"/>
          </a:p>
        </p:txBody>
      </p:sp>
      <p:sp>
        <p:nvSpPr>
          <p:cNvPr id="7" name="Circle: Hollow 6">
            <a:extLst>
              <a:ext uri="{FF2B5EF4-FFF2-40B4-BE49-F238E27FC236}">
                <a16:creationId xmlns:a16="http://schemas.microsoft.com/office/drawing/2014/main" id="{3E5C96EB-98A9-757B-21B1-6B4C28257C4C}"/>
              </a:ext>
            </a:extLst>
          </p:cNvPr>
          <p:cNvSpPr/>
          <p:nvPr/>
        </p:nvSpPr>
        <p:spPr>
          <a:xfrm>
            <a:off x="1126724" y="2079037"/>
            <a:ext cx="2098040" cy="2098040"/>
          </a:xfrm>
          <a:prstGeom prst="donut">
            <a:avLst>
              <a:gd name="adj" fmla="val 803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Circle: Hollow 7">
            <a:extLst>
              <a:ext uri="{FF2B5EF4-FFF2-40B4-BE49-F238E27FC236}">
                <a16:creationId xmlns:a16="http://schemas.microsoft.com/office/drawing/2014/main" id="{CBA43C0C-E778-2EB7-4510-D4FD95BBB795}"/>
              </a:ext>
            </a:extLst>
          </p:cNvPr>
          <p:cNvSpPr/>
          <p:nvPr/>
        </p:nvSpPr>
        <p:spPr>
          <a:xfrm>
            <a:off x="3762477" y="2079037"/>
            <a:ext cx="2098040" cy="2098040"/>
          </a:xfrm>
          <a:prstGeom prst="donut">
            <a:avLst>
              <a:gd name="adj" fmla="val 7867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Circle: Hollow 8">
            <a:extLst>
              <a:ext uri="{FF2B5EF4-FFF2-40B4-BE49-F238E27FC236}">
                <a16:creationId xmlns:a16="http://schemas.microsoft.com/office/drawing/2014/main" id="{7D6E6F22-FACC-22F9-62FC-66ADD6AF5E21}"/>
              </a:ext>
            </a:extLst>
          </p:cNvPr>
          <p:cNvSpPr/>
          <p:nvPr/>
        </p:nvSpPr>
        <p:spPr>
          <a:xfrm>
            <a:off x="6474460" y="2079037"/>
            <a:ext cx="2098040" cy="2098040"/>
          </a:xfrm>
          <a:prstGeom prst="donut">
            <a:avLst>
              <a:gd name="adj" fmla="val 8803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Circle: Hollow 9">
            <a:extLst>
              <a:ext uri="{FF2B5EF4-FFF2-40B4-BE49-F238E27FC236}">
                <a16:creationId xmlns:a16="http://schemas.microsoft.com/office/drawing/2014/main" id="{B5F18B86-CE0A-F49E-64A2-DCB7478CC403}"/>
              </a:ext>
            </a:extLst>
          </p:cNvPr>
          <p:cNvSpPr/>
          <p:nvPr/>
        </p:nvSpPr>
        <p:spPr>
          <a:xfrm>
            <a:off x="8990722" y="2079037"/>
            <a:ext cx="2098040" cy="2098040"/>
          </a:xfrm>
          <a:prstGeom prst="donut">
            <a:avLst>
              <a:gd name="adj" fmla="val 9339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2D29DB7-E512-601B-D44F-DD945F573F68}"/>
              </a:ext>
            </a:extLst>
          </p:cNvPr>
          <p:cNvSpPr/>
          <p:nvPr/>
        </p:nvSpPr>
        <p:spPr>
          <a:xfrm>
            <a:off x="-1" y="4020072"/>
            <a:ext cx="3399367" cy="15036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65A1DA8-158E-260C-896F-C5BAEBBADAD9}"/>
              </a:ext>
            </a:extLst>
          </p:cNvPr>
          <p:cNvSpPr/>
          <p:nvPr/>
        </p:nvSpPr>
        <p:spPr>
          <a:xfrm>
            <a:off x="8784166" y="4020072"/>
            <a:ext cx="3399367" cy="150366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234A9FA-2B94-4F51-D6A6-FFC88528DD98}"/>
              </a:ext>
            </a:extLst>
          </p:cNvPr>
          <p:cNvSpPr/>
          <p:nvPr/>
        </p:nvSpPr>
        <p:spPr>
          <a:xfrm>
            <a:off x="3399367" y="4020072"/>
            <a:ext cx="2696634" cy="15036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8F97C44-961B-DAF2-F03C-837B1C19D11D}"/>
              </a:ext>
            </a:extLst>
          </p:cNvPr>
          <p:cNvSpPr/>
          <p:nvPr/>
        </p:nvSpPr>
        <p:spPr>
          <a:xfrm>
            <a:off x="6096000" y="4020072"/>
            <a:ext cx="2696634" cy="15036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5" name="Graphic 14" descr="Unlock">
            <a:extLst>
              <a:ext uri="{FF2B5EF4-FFF2-40B4-BE49-F238E27FC236}">
                <a16:creationId xmlns:a16="http://schemas.microsoft.com/office/drawing/2014/main" id="{74B49A3C-3885-E4E5-CE12-6B6ABDC44BBB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7066280" y="2640021"/>
            <a:ext cx="914400" cy="914400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BC338F08-D72A-36B4-E11A-68B299536989}"/>
              </a:ext>
            </a:extLst>
          </p:cNvPr>
          <p:cNvSpPr txBox="1"/>
          <p:nvPr/>
        </p:nvSpPr>
        <p:spPr>
          <a:xfrm>
            <a:off x="1240080" y="4222621"/>
            <a:ext cx="19061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Noto Sans" panose="020B0502040504020204" pitchFamily="34"/>
                <a:cs typeface="Noto Sans" panose="020B0502040504020204" pitchFamily="34"/>
              </a:rPr>
              <a:t>WHO IS IT FOR?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F5175CC-5AD5-7C51-60E1-5508F51DCFA1}"/>
              </a:ext>
            </a:extLst>
          </p:cNvPr>
          <p:cNvSpPr txBox="1"/>
          <p:nvPr/>
        </p:nvSpPr>
        <p:spPr>
          <a:xfrm>
            <a:off x="3698519" y="4527638"/>
            <a:ext cx="22680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n-US" dirty="0">
                <a:solidFill>
                  <a:prstClr val="black"/>
                </a:solidFill>
              </a:rPr>
              <a:t>A postage credit of up to 20% is available on eligible advertising mail.</a:t>
            </a:r>
            <a:endParaRPr lang="en-GB" dirty="0">
              <a:solidFill>
                <a:prstClr val="black"/>
              </a:solidFill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58D6E93-1C02-A633-3386-831105D32ACF}"/>
              </a:ext>
            </a:extLst>
          </p:cNvPr>
          <p:cNvSpPr txBox="1"/>
          <p:nvPr/>
        </p:nvSpPr>
        <p:spPr>
          <a:xfrm>
            <a:off x="3558573" y="4232560"/>
            <a:ext cx="25478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="1" dirty="0">
                <a:solidFill>
                  <a:prstClr val="black"/>
                </a:solidFill>
                <a:ea typeface="Noto Sans" panose="020B0502040504020204" pitchFamily="34"/>
                <a:cs typeface="Noto Sans" panose="020B0502040504020204" pitchFamily="34"/>
              </a:rPr>
              <a:t>CREDIT</a:t>
            </a:r>
            <a:endParaRPr kumimoji="0" lang="en-GB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56DE204C-07B3-CE71-7321-AFF8C89516C4}"/>
              </a:ext>
            </a:extLst>
          </p:cNvPr>
          <p:cNvSpPr txBox="1"/>
          <p:nvPr/>
        </p:nvSpPr>
        <p:spPr>
          <a:xfrm>
            <a:off x="6413814" y="4516926"/>
            <a:ext cx="22680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n-US" dirty="0">
                <a:solidFill>
                  <a:prstClr val="black"/>
                </a:solidFill>
                <a:ea typeface="Noto Sans" panose="020B0502040504020204" pitchFamily="34"/>
                <a:cs typeface="Noto Sans" panose="020B0502040504020204" pitchFamily="34"/>
              </a:rPr>
              <a:t>The minimum volume is 50k. The maximum volume is 1m items</a:t>
            </a:r>
            <a:endParaRPr lang="en-GB" dirty="0">
              <a:solidFill>
                <a:prstClr val="black"/>
              </a:solidFill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4B8E51F2-028E-7A40-0285-39A1650446F4}"/>
              </a:ext>
            </a:extLst>
          </p:cNvPr>
          <p:cNvSpPr txBox="1"/>
          <p:nvPr/>
        </p:nvSpPr>
        <p:spPr>
          <a:xfrm>
            <a:off x="6583179" y="4222621"/>
            <a:ext cx="19061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="1" dirty="0">
                <a:solidFill>
                  <a:prstClr val="black"/>
                </a:solidFill>
                <a:ea typeface="Noto Sans" panose="020B0502040504020204" pitchFamily="34"/>
                <a:cs typeface="Noto Sans" panose="020B0502040504020204" pitchFamily="34"/>
              </a:rPr>
              <a:t>TO QUALIFY</a:t>
            </a:r>
            <a:endParaRPr kumimoji="0" lang="en-GB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320E918-C534-C159-5EA1-BBA37997675E}"/>
              </a:ext>
            </a:extLst>
          </p:cNvPr>
          <p:cNvSpPr txBox="1"/>
          <p:nvPr/>
        </p:nvSpPr>
        <p:spPr>
          <a:xfrm>
            <a:off x="9093361" y="4222621"/>
            <a:ext cx="19061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Noto Sans" panose="020B0502040504020204" pitchFamily="34"/>
                <a:cs typeface="Noto Sans" panose="020B0502040504020204" pitchFamily="34"/>
              </a:rPr>
              <a:t>TO APPLY</a:t>
            </a:r>
          </a:p>
        </p:txBody>
      </p:sp>
      <p:grpSp>
        <p:nvGrpSpPr>
          <p:cNvPr id="22" name="Target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F4A37AF3-7419-BBAE-12C5-ED667B83F558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1603135" y="2552807"/>
            <a:ext cx="1161193" cy="1163810"/>
            <a:chOff x="20" y="21"/>
            <a:chExt cx="444" cy="445"/>
          </a:xfrm>
          <a:solidFill>
            <a:schemeClr val="tx1"/>
          </a:solidFill>
        </p:grpSpPr>
        <p:sp>
          <p:nvSpPr>
            <p:cNvPr id="23" name="Target">
              <a:extLst>
                <a:ext uri="{FF2B5EF4-FFF2-40B4-BE49-F238E27FC236}">
                  <a16:creationId xmlns:a16="http://schemas.microsoft.com/office/drawing/2014/main" id="{B342CF42-CD52-9DFE-A9AF-B339D3A53C9F}"/>
                </a:ext>
              </a:extLst>
            </p:cNvPr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124" y="166"/>
              <a:ext cx="159" cy="196"/>
            </a:xfrm>
            <a:custGeom>
              <a:avLst/>
              <a:gdLst>
                <a:gd name="T0" fmla="*/ 159 w 422"/>
                <a:gd name="T1" fmla="*/ 217 h 522"/>
                <a:gd name="T2" fmla="*/ 212 w 422"/>
                <a:gd name="T3" fmla="*/ 223 h 522"/>
                <a:gd name="T4" fmla="*/ 179 w 422"/>
                <a:gd name="T5" fmla="*/ 5 h 522"/>
                <a:gd name="T6" fmla="*/ 167 w 422"/>
                <a:gd name="T7" fmla="*/ 0 h 522"/>
                <a:gd name="T8" fmla="*/ 0 w 422"/>
                <a:gd name="T9" fmla="*/ 179 h 522"/>
                <a:gd name="T10" fmla="*/ 54 w 422"/>
                <a:gd name="T11" fmla="*/ 194 h 522"/>
                <a:gd name="T12" fmla="*/ 411 w 422"/>
                <a:gd name="T13" fmla="*/ 481 h 522"/>
                <a:gd name="T14" fmla="*/ 411 w 422"/>
                <a:gd name="T15" fmla="*/ 464 h 522"/>
                <a:gd name="T16" fmla="*/ 159 w 422"/>
                <a:gd name="T17" fmla="*/ 217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2" h="522">
                  <a:moveTo>
                    <a:pt x="159" y="217"/>
                  </a:moveTo>
                  <a:cubicBezTo>
                    <a:pt x="159" y="217"/>
                    <a:pt x="194" y="230"/>
                    <a:pt x="212" y="223"/>
                  </a:cubicBezTo>
                  <a:cubicBezTo>
                    <a:pt x="192" y="126"/>
                    <a:pt x="179" y="5"/>
                    <a:pt x="179" y="5"/>
                  </a:cubicBezTo>
                  <a:lnTo>
                    <a:pt x="167" y="0"/>
                  </a:lnTo>
                  <a:cubicBezTo>
                    <a:pt x="167" y="0"/>
                    <a:pt x="23" y="67"/>
                    <a:pt x="0" y="179"/>
                  </a:cubicBezTo>
                  <a:cubicBezTo>
                    <a:pt x="21" y="191"/>
                    <a:pt x="54" y="194"/>
                    <a:pt x="54" y="194"/>
                  </a:cubicBezTo>
                  <a:cubicBezTo>
                    <a:pt x="60" y="349"/>
                    <a:pt x="106" y="522"/>
                    <a:pt x="411" y="481"/>
                  </a:cubicBezTo>
                  <a:cubicBezTo>
                    <a:pt x="422" y="481"/>
                    <a:pt x="411" y="464"/>
                    <a:pt x="411" y="464"/>
                  </a:cubicBezTo>
                  <a:cubicBezTo>
                    <a:pt x="207" y="469"/>
                    <a:pt x="154" y="279"/>
                    <a:pt x="159" y="21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" name="Target">
              <a:extLst>
                <a:ext uri="{FF2B5EF4-FFF2-40B4-BE49-F238E27FC236}">
                  <a16:creationId xmlns:a16="http://schemas.microsoft.com/office/drawing/2014/main" id="{63464129-DC4A-D92F-A544-859E9D659D33}"/>
                </a:ext>
              </a:extLst>
            </p:cNvPr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200" y="125"/>
              <a:ext cx="159" cy="196"/>
            </a:xfrm>
            <a:custGeom>
              <a:avLst/>
              <a:gdLst>
                <a:gd name="T0" fmla="*/ 12 w 423"/>
                <a:gd name="T1" fmla="*/ 41 h 522"/>
                <a:gd name="T2" fmla="*/ 12 w 423"/>
                <a:gd name="T3" fmla="*/ 58 h 522"/>
                <a:gd name="T4" fmla="*/ 263 w 423"/>
                <a:gd name="T5" fmla="*/ 305 h 522"/>
                <a:gd name="T6" fmla="*/ 211 w 423"/>
                <a:gd name="T7" fmla="*/ 299 h 522"/>
                <a:gd name="T8" fmla="*/ 243 w 423"/>
                <a:gd name="T9" fmla="*/ 517 h 522"/>
                <a:gd name="T10" fmla="*/ 256 w 423"/>
                <a:gd name="T11" fmla="*/ 522 h 522"/>
                <a:gd name="T12" fmla="*/ 423 w 423"/>
                <a:gd name="T13" fmla="*/ 343 h 522"/>
                <a:gd name="T14" fmla="*/ 369 w 423"/>
                <a:gd name="T15" fmla="*/ 328 h 522"/>
                <a:gd name="T16" fmla="*/ 12 w 423"/>
                <a:gd name="T17" fmla="*/ 41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3" h="522">
                  <a:moveTo>
                    <a:pt x="12" y="41"/>
                  </a:moveTo>
                  <a:cubicBezTo>
                    <a:pt x="0" y="41"/>
                    <a:pt x="12" y="58"/>
                    <a:pt x="12" y="58"/>
                  </a:cubicBezTo>
                  <a:cubicBezTo>
                    <a:pt x="215" y="53"/>
                    <a:pt x="269" y="243"/>
                    <a:pt x="263" y="305"/>
                  </a:cubicBezTo>
                  <a:cubicBezTo>
                    <a:pt x="263" y="305"/>
                    <a:pt x="229" y="292"/>
                    <a:pt x="211" y="299"/>
                  </a:cubicBezTo>
                  <a:cubicBezTo>
                    <a:pt x="231" y="396"/>
                    <a:pt x="243" y="517"/>
                    <a:pt x="243" y="517"/>
                  </a:cubicBezTo>
                  <a:lnTo>
                    <a:pt x="256" y="522"/>
                  </a:lnTo>
                  <a:cubicBezTo>
                    <a:pt x="256" y="522"/>
                    <a:pt x="400" y="455"/>
                    <a:pt x="423" y="343"/>
                  </a:cubicBezTo>
                  <a:cubicBezTo>
                    <a:pt x="402" y="331"/>
                    <a:pt x="369" y="328"/>
                    <a:pt x="369" y="328"/>
                  </a:cubicBezTo>
                  <a:cubicBezTo>
                    <a:pt x="363" y="173"/>
                    <a:pt x="317" y="0"/>
                    <a:pt x="12" y="4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Target">
              <a:extLst>
                <a:ext uri="{FF2B5EF4-FFF2-40B4-BE49-F238E27FC236}">
                  <a16:creationId xmlns:a16="http://schemas.microsoft.com/office/drawing/2014/main" id="{9C1282D8-4B92-BB64-31EA-12864C9B4145}"/>
                </a:ext>
              </a:extLst>
            </p:cNvPr>
            <p:cNvSpPr>
              <a:spLocks noEditPoints="1"/>
            </p:cNvSpPr>
            <p:nvPr>
              <p:custDataLst>
                <p:tags r:id="rId12"/>
              </p:custDataLst>
            </p:nvPr>
          </p:nvSpPr>
          <p:spPr bwMode="auto">
            <a:xfrm>
              <a:off x="20" y="21"/>
              <a:ext cx="444" cy="445"/>
            </a:xfrm>
            <a:custGeom>
              <a:avLst/>
              <a:gdLst>
                <a:gd name="T0" fmla="*/ 1157 w 1182"/>
                <a:gd name="T1" fmla="*/ 566 h 1181"/>
                <a:gd name="T2" fmla="*/ 1088 w 1182"/>
                <a:gd name="T3" fmla="*/ 566 h 1181"/>
                <a:gd name="T4" fmla="*/ 616 w 1182"/>
                <a:gd name="T5" fmla="*/ 94 h 1181"/>
                <a:gd name="T6" fmla="*/ 616 w 1182"/>
                <a:gd name="T7" fmla="*/ 25 h 1181"/>
                <a:gd name="T8" fmla="*/ 591 w 1182"/>
                <a:gd name="T9" fmla="*/ 0 h 1181"/>
                <a:gd name="T10" fmla="*/ 566 w 1182"/>
                <a:gd name="T11" fmla="*/ 25 h 1181"/>
                <a:gd name="T12" fmla="*/ 566 w 1182"/>
                <a:gd name="T13" fmla="*/ 94 h 1181"/>
                <a:gd name="T14" fmla="*/ 94 w 1182"/>
                <a:gd name="T15" fmla="*/ 566 h 1181"/>
                <a:gd name="T16" fmla="*/ 25 w 1182"/>
                <a:gd name="T17" fmla="*/ 566 h 1181"/>
                <a:gd name="T18" fmla="*/ 0 w 1182"/>
                <a:gd name="T19" fmla="*/ 591 h 1181"/>
                <a:gd name="T20" fmla="*/ 25 w 1182"/>
                <a:gd name="T21" fmla="*/ 616 h 1181"/>
                <a:gd name="T22" fmla="*/ 94 w 1182"/>
                <a:gd name="T23" fmla="*/ 616 h 1181"/>
                <a:gd name="T24" fmla="*/ 566 w 1182"/>
                <a:gd name="T25" fmla="*/ 1088 h 1181"/>
                <a:gd name="T26" fmla="*/ 566 w 1182"/>
                <a:gd name="T27" fmla="*/ 1156 h 1181"/>
                <a:gd name="T28" fmla="*/ 591 w 1182"/>
                <a:gd name="T29" fmla="*/ 1181 h 1181"/>
                <a:gd name="T30" fmla="*/ 616 w 1182"/>
                <a:gd name="T31" fmla="*/ 1156 h 1181"/>
                <a:gd name="T32" fmla="*/ 616 w 1182"/>
                <a:gd name="T33" fmla="*/ 1088 h 1181"/>
                <a:gd name="T34" fmla="*/ 1088 w 1182"/>
                <a:gd name="T35" fmla="*/ 616 h 1181"/>
                <a:gd name="T36" fmla="*/ 1157 w 1182"/>
                <a:gd name="T37" fmla="*/ 616 h 1181"/>
                <a:gd name="T38" fmla="*/ 1182 w 1182"/>
                <a:gd name="T39" fmla="*/ 591 h 1181"/>
                <a:gd name="T40" fmla="*/ 1157 w 1182"/>
                <a:gd name="T41" fmla="*/ 566 h 1181"/>
                <a:gd name="T42" fmla="*/ 616 w 1182"/>
                <a:gd name="T43" fmla="*/ 1037 h 1181"/>
                <a:gd name="T44" fmla="*/ 616 w 1182"/>
                <a:gd name="T45" fmla="*/ 1015 h 1181"/>
                <a:gd name="T46" fmla="*/ 591 w 1182"/>
                <a:gd name="T47" fmla="*/ 990 h 1181"/>
                <a:gd name="T48" fmla="*/ 566 w 1182"/>
                <a:gd name="T49" fmla="*/ 1015 h 1181"/>
                <a:gd name="T50" fmla="*/ 566 w 1182"/>
                <a:gd name="T51" fmla="*/ 1037 h 1181"/>
                <a:gd name="T52" fmla="*/ 144 w 1182"/>
                <a:gd name="T53" fmla="*/ 616 h 1181"/>
                <a:gd name="T54" fmla="*/ 166 w 1182"/>
                <a:gd name="T55" fmla="*/ 616 h 1181"/>
                <a:gd name="T56" fmla="*/ 191 w 1182"/>
                <a:gd name="T57" fmla="*/ 591 h 1181"/>
                <a:gd name="T58" fmla="*/ 166 w 1182"/>
                <a:gd name="T59" fmla="*/ 566 h 1181"/>
                <a:gd name="T60" fmla="*/ 144 w 1182"/>
                <a:gd name="T61" fmla="*/ 566 h 1181"/>
                <a:gd name="T62" fmla="*/ 566 w 1182"/>
                <a:gd name="T63" fmla="*/ 144 h 1181"/>
                <a:gd name="T64" fmla="*/ 566 w 1182"/>
                <a:gd name="T65" fmla="*/ 166 h 1181"/>
                <a:gd name="T66" fmla="*/ 591 w 1182"/>
                <a:gd name="T67" fmla="*/ 191 h 1181"/>
                <a:gd name="T68" fmla="*/ 616 w 1182"/>
                <a:gd name="T69" fmla="*/ 166 h 1181"/>
                <a:gd name="T70" fmla="*/ 616 w 1182"/>
                <a:gd name="T71" fmla="*/ 144 h 1181"/>
                <a:gd name="T72" fmla="*/ 1038 w 1182"/>
                <a:gd name="T73" fmla="*/ 566 h 1181"/>
                <a:gd name="T74" fmla="*/ 1016 w 1182"/>
                <a:gd name="T75" fmla="*/ 566 h 1181"/>
                <a:gd name="T76" fmla="*/ 991 w 1182"/>
                <a:gd name="T77" fmla="*/ 591 h 1181"/>
                <a:gd name="T78" fmla="*/ 1016 w 1182"/>
                <a:gd name="T79" fmla="*/ 616 h 1181"/>
                <a:gd name="T80" fmla="*/ 1038 w 1182"/>
                <a:gd name="T81" fmla="*/ 616 h 1181"/>
                <a:gd name="T82" fmla="*/ 616 w 1182"/>
                <a:gd name="T83" fmla="*/ 1037 h 1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182" h="1181">
                  <a:moveTo>
                    <a:pt x="1157" y="566"/>
                  </a:moveTo>
                  <a:lnTo>
                    <a:pt x="1088" y="566"/>
                  </a:lnTo>
                  <a:cubicBezTo>
                    <a:pt x="1075" y="311"/>
                    <a:pt x="870" y="106"/>
                    <a:pt x="616" y="94"/>
                  </a:cubicBezTo>
                  <a:lnTo>
                    <a:pt x="616" y="25"/>
                  </a:lnTo>
                  <a:cubicBezTo>
                    <a:pt x="616" y="11"/>
                    <a:pt x="605" y="0"/>
                    <a:pt x="591" y="0"/>
                  </a:cubicBezTo>
                  <a:cubicBezTo>
                    <a:pt x="577" y="0"/>
                    <a:pt x="566" y="11"/>
                    <a:pt x="566" y="25"/>
                  </a:cubicBezTo>
                  <a:lnTo>
                    <a:pt x="566" y="94"/>
                  </a:lnTo>
                  <a:cubicBezTo>
                    <a:pt x="311" y="106"/>
                    <a:pt x="107" y="311"/>
                    <a:pt x="94" y="566"/>
                  </a:cubicBezTo>
                  <a:lnTo>
                    <a:pt x="25" y="566"/>
                  </a:lnTo>
                  <a:cubicBezTo>
                    <a:pt x="11" y="566"/>
                    <a:pt x="0" y="577"/>
                    <a:pt x="0" y="591"/>
                  </a:cubicBezTo>
                  <a:cubicBezTo>
                    <a:pt x="0" y="604"/>
                    <a:pt x="11" y="616"/>
                    <a:pt x="25" y="616"/>
                  </a:cubicBezTo>
                  <a:lnTo>
                    <a:pt x="94" y="616"/>
                  </a:lnTo>
                  <a:cubicBezTo>
                    <a:pt x="107" y="870"/>
                    <a:pt x="311" y="1075"/>
                    <a:pt x="566" y="1088"/>
                  </a:cubicBezTo>
                  <a:lnTo>
                    <a:pt x="566" y="1156"/>
                  </a:lnTo>
                  <a:cubicBezTo>
                    <a:pt x="566" y="1170"/>
                    <a:pt x="577" y="1181"/>
                    <a:pt x="591" y="1181"/>
                  </a:cubicBezTo>
                  <a:cubicBezTo>
                    <a:pt x="605" y="1181"/>
                    <a:pt x="616" y="1170"/>
                    <a:pt x="616" y="1156"/>
                  </a:cubicBezTo>
                  <a:lnTo>
                    <a:pt x="616" y="1088"/>
                  </a:lnTo>
                  <a:cubicBezTo>
                    <a:pt x="870" y="1075"/>
                    <a:pt x="1075" y="870"/>
                    <a:pt x="1088" y="616"/>
                  </a:cubicBezTo>
                  <a:lnTo>
                    <a:pt x="1157" y="616"/>
                  </a:lnTo>
                  <a:cubicBezTo>
                    <a:pt x="1170" y="616"/>
                    <a:pt x="1182" y="604"/>
                    <a:pt x="1182" y="591"/>
                  </a:cubicBezTo>
                  <a:cubicBezTo>
                    <a:pt x="1182" y="577"/>
                    <a:pt x="1170" y="566"/>
                    <a:pt x="1157" y="566"/>
                  </a:cubicBezTo>
                  <a:close/>
                  <a:moveTo>
                    <a:pt x="616" y="1037"/>
                  </a:moveTo>
                  <a:lnTo>
                    <a:pt x="616" y="1015"/>
                  </a:lnTo>
                  <a:cubicBezTo>
                    <a:pt x="616" y="1002"/>
                    <a:pt x="605" y="990"/>
                    <a:pt x="591" y="990"/>
                  </a:cubicBezTo>
                  <a:cubicBezTo>
                    <a:pt x="577" y="990"/>
                    <a:pt x="566" y="1002"/>
                    <a:pt x="566" y="1015"/>
                  </a:cubicBezTo>
                  <a:lnTo>
                    <a:pt x="566" y="1037"/>
                  </a:lnTo>
                  <a:cubicBezTo>
                    <a:pt x="339" y="1025"/>
                    <a:pt x="157" y="843"/>
                    <a:pt x="144" y="616"/>
                  </a:cubicBezTo>
                  <a:lnTo>
                    <a:pt x="166" y="616"/>
                  </a:lnTo>
                  <a:cubicBezTo>
                    <a:pt x="180" y="616"/>
                    <a:pt x="191" y="604"/>
                    <a:pt x="191" y="591"/>
                  </a:cubicBezTo>
                  <a:cubicBezTo>
                    <a:pt x="191" y="577"/>
                    <a:pt x="180" y="566"/>
                    <a:pt x="166" y="566"/>
                  </a:cubicBezTo>
                  <a:lnTo>
                    <a:pt x="144" y="566"/>
                  </a:lnTo>
                  <a:cubicBezTo>
                    <a:pt x="157" y="339"/>
                    <a:pt x="339" y="156"/>
                    <a:pt x="566" y="144"/>
                  </a:cubicBezTo>
                  <a:lnTo>
                    <a:pt x="566" y="166"/>
                  </a:lnTo>
                  <a:cubicBezTo>
                    <a:pt x="566" y="180"/>
                    <a:pt x="577" y="191"/>
                    <a:pt x="591" y="191"/>
                  </a:cubicBezTo>
                  <a:cubicBezTo>
                    <a:pt x="605" y="191"/>
                    <a:pt x="616" y="180"/>
                    <a:pt x="616" y="166"/>
                  </a:cubicBezTo>
                  <a:lnTo>
                    <a:pt x="616" y="144"/>
                  </a:lnTo>
                  <a:cubicBezTo>
                    <a:pt x="843" y="156"/>
                    <a:pt x="1025" y="339"/>
                    <a:pt x="1038" y="566"/>
                  </a:cubicBezTo>
                  <a:lnTo>
                    <a:pt x="1016" y="566"/>
                  </a:lnTo>
                  <a:cubicBezTo>
                    <a:pt x="1002" y="566"/>
                    <a:pt x="991" y="577"/>
                    <a:pt x="991" y="591"/>
                  </a:cubicBezTo>
                  <a:cubicBezTo>
                    <a:pt x="991" y="604"/>
                    <a:pt x="1002" y="616"/>
                    <a:pt x="1016" y="616"/>
                  </a:cubicBezTo>
                  <a:lnTo>
                    <a:pt x="1038" y="616"/>
                  </a:lnTo>
                  <a:cubicBezTo>
                    <a:pt x="1025" y="843"/>
                    <a:pt x="843" y="1025"/>
                    <a:pt x="616" y="103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6" name="Tag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FC958014-3819-6748-3F58-12B30173D3A8}"/>
              </a:ext>
            </a:extLst>
          </p:cNvPr>
          <p:cNvSpPr>
            <a:spLocks noChangeAspect="1" noEditPoints="1"/>
          </p:cNvSpPr>
          <p:nvPr>
            <p:custDataLst>
              <p:tags r:id="rId2"/>
            </p:custDataLst>
          </p:nvPr>
        </p:nvSpPr>
        <p:spPr bwMode="auto">
          <a:xfrm>
            <a:off x="4285635" y="2645605"/>
            <a:ext cx="966138" cy="961826"/>
          </a:xfrm>
          <a:custGeom>
            <a:avLst/>
            <a:gdLst>
              <a:gd name="T0" fmla="*/ 537 w 621"/>
              <a:gd name="T1" fmla="*/ 117 h 617"/>
              <a:gd name="T2" fmla="*/ 504 w 621"/>
              <a:gd name="T3" fmla="*/ 83 h 617"/>
              <a:gd name="T4" fmla="*/ 537 w 621"/>
              <a:gd name="T5" fmla="*/ 50 h 617"/>
              <a:gd name="T6" fmla="*/ 571 w 621"/>
              <a:gd name="T7" fmla="*/ 83 h 617"/>
              <a:gd name="T8" fmla="*/ 537 w 621"/>
              <a:gd name="T9" fmla="*/ 117 h 617"/>
              <a:gd name="T10" fmla="*/ 601 w 621"/>
              <a:gd name="T11" fmla="*/ 0 h 617"/>
              <a:gd name="T12" fmla="*/ 600 w 621"/>
              <a:gd name="T13" fmla="*/ 0 h 617"/>
              <a:gd name="T14" fmla="*/ 599 w 621"/>
              <a:gd name="T15" fmla="*/ 0 h 617"/>
              <a:gd name="T16" fmla="*/ 341 w 621"/>
              <a:gd name="T17" fmla="*/ 0 h 617"/>
              <a:gd name="T18" fmla="*/ 318 w 621"/>
              <a:gd name="T19" fmla="*/ 12 h 617"/>
              <a:gd name="T20" fmla="*/ 16 w 621"/>
              <a:gd name="T21" fmla="*/ 314 h 617"/>
              <a:gd name="T22" fmla="*/ 16 w 621"/>
              <a:gd name="T23" fmla="*/ 372 h 617"/>
              <a:gd name="T24" fmla="*/ 248 w 621"/>
              <a:gd name="T25" fmla="*/ 605 h 617"/>
              <a:gd name="T26" fmla="*/ 277 w 621"/>
              <a:gd name="T27" fmla="*/ 617 h 617"/>
              <a:gd name="T28" fmla="*/ 306 w 621"/>
              <a:gd name="T29" fmla="*/ 605 h 617"/>
              <a:gd name="T30" fmla="*/ 608 w 621"/>
              <a:gd name="T31" fmla="*/ 302 h 617"/>
              <a:gd name="T32" fmla="*/ 621 w 621"/>
              <a:gd name="T33" fmla="*/ 280 h 617"/>
              <a:gd name="T34" fmla="*/ 621 w 621"/>
              <a:gd name="T35" fmla="*/ 20 h 617"/>
              <a:gd name="T36" fmla="*/ 601 w 621"/>
              <a:gd name="T37" fmla="*/ 0 h 6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621" h="617">
                <a:moveTo>
                  <a:pt x="537" y="117"/>
                </a:moveTo>
                <a:cubicBezTo>
                  <a:pt x="519" y="117"/>
                  <a:pt x="504" y="102"/>
                  <a:pt x="504" y="83"/>
                </a:cubicBezTo>
                <a:cubicBezTo>
                  <a:pt x="504" y="65"/>
                  <a:pt x="519" y="50"/>
                  <a:pt x="537" y="50"/>
                </a:cubicBezTo>
                <a:cubicBezTo>
                  <a:pt x="556" y="50"/>
                  <a:pt x="571" y="65"/>
                  <a:pt x="571" y="83"/>
                </a:cubicBezTo>
                <a:cubicBezTo>
                  <a:pt x="571" y="102"/>
                  <a:pt x="556" y="117"/>
                  <a:pt x="537" y="117"/>
                </a:cubicBezTo>
                <a:close/>
                <a:moveTo>
                  <a:pt x="601" y="0"/>
                </a:moveTo>
                <a:lnTo>
                  <a:pt x="600" y="0"/>
                </a:lnTo>
                <a:cubicBezTo>
                  <a:pt x="600" y="0"/>
                  <a:pt x="600" y="0"/>
                  <a:pt x="599" y="0"/>
                </a:cubicBezTo>
                <a:lnTo>
                  <a:pt x="341" y="0"/>
                </a:lnTo>
                <a:cubicBezTo>
                  <a:pt x="334" y="0"/>
                  <a:pt x="320" y="10"/>
                  <a:pt x="318" y="12"/>
                </a:cubicBezTo>
                <a:lnTo>
                  <a:pt x="16" y="314"/>
                </a:lnTo>
                <a:cubicBezTo>
                  <a:pt x="0" y="330"/>
                  <a:pt x="0" y="356"/>
                  <a:pt x="16" y="372"/>
                </a:cubicBezTo>
                <a:lnTo>
                  <a:pt x="248" y="605"/>
                </a:lnTo>
                <a:cubicBezTo>
                  <a:pt x="256" y="613"/>
                  <a:pt x="267" y="617"/>
                  <a:pt x="277" y="617"/>
                </a:cubicBezTo>
                <a:cubicBezTo>
                  <a:pt x="288" y="617"/>
                  <a:pt x="298" y="613"/>
                  <a:pt x="306" y="605"/>
                </a:cubicBezTo>
                <a:lnTo>
                  <a:pt x="608" y="302"/>
                </a:lnTo>
                <a:cubicBezTo>
                  <a:pt x="610" y="300"/>
                  <a:pt x="621" y="288"/>
                  <a:pt x="621" y="280"/>
                </a:cubicBezTo>
                <a:lnTo>
                  <a:pt x="621" y="20"/>
                </a:lnTo>
                <a:cubicBezTo>
                  <a:pt x="621" y="9"/>
                  <a:pt x="613" y="0"/>
                  <a:pt x="601" y="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0B27E6E0-96F8-3CCE-7B11-0182865277E2}"/>
              </a:ext>
            </a:extLst>
          </p:cNvPr>
          <p:cNvSpPr txBox="1"/>
          <p:nvPr/>
        </p:nvSpPr>
        <p:spPr>
          <a:xfrm>
            <a:off x="4498570" y="2871091"/>
            <a:ext cx="63190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000" b="1" dirty="0">
                <a:solidFill>
                  <a:schemeClr val="bg1"/>
                </a:solidFill>
              </a:rPr>
              <a:t>20%</a:t>
            </a:r>
          </a:p>
        </p:txBody>
      </p:sp>
      <p:grpSp>
        <p:nvGrpSpPr>
          <p:cNvPr id="28" name="Application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52028893-95EB-AB6D-21D6-9C0EF3337CE4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9696662" y="2731821"/>
            <a:ext cx="701646" cy="874387"/>
            <a:chOff x="46" y="2"/>
            <a:chExt cx="394" cy="491"/>
          </a:xfrm>
          <a:solidFill>
            <a:schemeClr val="tx1"/>
          </a:solidFill>
        </p:grpSpPr>
        <p:sp>
          <p:nvSpPr>
            <p:cNvPr id="29" name="Application">
              <a:extLst>
                <a:ext uri="{FF2B5EF4-FFF2-40B4-BE49-F238E27FC236}">
                  <a16:creationId xmlns:a16="http://schemas.microsoft.com/office/drawing/2014/main" id="{564877B2-CE9D-A176-1C94-43DF2D166614}"/>
                </a:ext>
              </a:extLst>
            </p:cNvPr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333" y="309"/>
              <a:ext cx="55" cy="64"/>
            </a:xfrm>
            <a:custGeom>
              <a:avLst/>
              <a:gdLst>
                <a:gd name="T0" fmla="*/ 147 w 147"/>
                <a:gd name="T1" fmla="*/ 144 h 171"/>
                <a:gd name="T2" fmla="*/ 123 w 147"/>
                <a:gd name="T3" fmla="*/ 0 h 171"/>
                <a:gd name="T4" fmla="*/ 0 w 147"/>
                <a:gd name="T5" fmla="*/ 38 h 171"/>
                <a:gd name="T6" fmla="*/ 60 w 147"/>
                <a:gd name="T7" fmla="*/ 171 h 171"/>
                <a:gd name="T8" fmla="*/ 147 w 147"/>
                <a:gd name="T9" fmla="*/ 144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7" h="171">
                  <a:moveTo>
                    <a:pt x="147" y="144"/>
                  </a:moveTo>
                  <a:lnTo>
                    <a:pt x="123" y="0"/>
                  </a:lnTo>
                  <a:lnTo>
                    <a:pt x="0" y="38"/>
                  </a:lnTo>
                  <a:lnTo>
                    <a:pt x="60" y="171"/>
                  </a:lnTo>
                  <a:lnTo>
                    <a:pt x="147" y="144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Application">
              <a:extLst>
                <a:ext uri="{FF2B5EF4-FFF2-40B4-BE49-F238E27FC236}">
                  <a16:creationId xmlns:a16="http://schemas.microsoft.com/office/drawing/2014/main" id="{4C05AF14-C371-68BF-7D3D-85C5D460D89A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345" y="369"/>
              <a:ext cx="69" cy="124"/>
            </a:xfrm>
            <a:custGeom>
              <a:avLst/>
              <a:gdLst>
                <a:gd name="T0" fmla="*/ 169 w 184"/>
                <a:gd name="T1" fmla="*/ 99 h 329"/>
                <a:gd name="T2" fmla="*/ 116 w 184"/>
                <a:gd name="T3" fmla="*/ 0 h 329"/>
                <a:gd name="T4" fmla="*/ 29 w 184"/>
                <a:gd name="T5" fmla="*/ 27 h 329"/>
                <a:gd name="T6" fmla="*/ 20 w 184"/>
                <a:gd name="T7" fmla="*/ 144 h 329"/>
                <a:gd name="T8" fmla="*/ 139 w 184"/>
                <a:gd name="T9" fmla="*/ 275 h 329"/>
                <a:gd name="T10" fmla="*/ 169 w 184"/>
                <a:gd name="T11" fmla="*/ 99 h 3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4" h="329">
                  <a:moveTo>
                    <a:pt x="169" y="99"/>
                  </a:moveTo>
                  <a:cubicBezTo>
                    <a:pt x="158" y="60"/>
                    <a:pt x="127" y="15"/>
                    <a:pt x="116" y="0"/>
                  </a:cubicBezTo>
                  <a:lnTo>
                    <a:pt x="29" y="27"/>
                  </a:lnTo>
                  <a:cubicBezTo>
                    <a:pt x="20" y="45"/>
                    <a:pt x="0" y="92"/>
                    <a:pt x="20" y="144"/>
                  </a:cubicBezTo>
                  <a:cubicBezTo>
                    <a:pt x="40" y="198"/>
                    <a:pt x="144" y="329"/>
                    <a:pt x="139" y="275"/>
                  </a:cubicBezTo>
                  <a:cubicBezTo>
                    <a:pt x="129" y="167"/>
                    <a:pt x="184" y="146"/>
                    <a:pt x="169" y="99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" name="Application">
              <a:extLst>
                <a:ext uri="{FF2B5EF4-FFF2-40B4-BE49-F238E27FC236}">
                  <a16:creationId xmlns:a16="http://schemas.microsoft.com/office/drawing/2014/main" id="{94549084-3922-FDE0-25CD-86558B9CE1BC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46" y="2"/>
              <a:ext cx="394" cy="447"/>
            </a:xfrm>
            <a:custGeom>
              <a:avLst/>
              <a:gdLst>
                <a:gd name="T0" fmla="*/ 575 w 1050"/>
                <a:gd name="T1" fmla="*/ 18 h 1187"/>
                <a:gd name="T2" fmla="*/ 401 w 1050"/>
                <a:gd name="T3" fmla="*/ 578 h 1187"/>
                <a:gd name="T4" fmla="*/ 359 w 1050"/>
                <a:gd name="T5" fmla="*/ 346 h 1187"/>
                <a:gd name="T6" fmla="*/ 0 w 1050"/>
                <a:gd name="T7" fmla="*/ 578 h 1187"/>
                <a:gd name="T8" fmla="*/ 75 w 1050"/>
                <a:gd name="T9" fmla="*/ 728 h 1187"/>
                <a:gd name="T10" fmla="*/ 88 w 1050"/>
                <a:gd name="T11" fmla="*/ 678 h 1187"/>
                <a:gd name="T12" fmla="*/ 163 w 1050"/>
                <a:gd name="T13" fmla="*/ 728 h 1187"/>
                <a:gd name="T14" fmla="*/ 175 w 1050"/>
                <a:gd name="T15" fmla="*/ 678 h 1187"/>
                <a:gd name="T16" fmla="*/ 195 w 1050"/>
                <a:gd name="T17" fmla="*/ 728 h 1187"/>
                <a:gd name="T18" fmla="*/ 29 w 1050"/>
                <a:gd name="T19" fmla="*/ 1120 h 1187"/>
                <a:gd name="T20" fmla="*/ 57 w 1050"/>
                <a:gd name="T21" fmla="*/ 1133 h 1187"/>
                <a:gd name="T22" fmla="*/ 58 w 1050"/>
                <a:gd name="T23" fmla="*/ 1132 h 1187"/>
                <a:gd name="T24" fmla="*/ 70 w 1050"/>
                <a:gd name="T25" fmla="*/ 1159 h 1187"/>
                <a:gd name="T26" fmla="*/ 105 w 1050"/>
                <a:gd name="T27" fmla="*/ 1174 h 1187"/>
                <a:gd name="T28" fmla="*/ 129 w 1050"/>
                <a:gd name="T29" fmla="*/ 1162 h 1187"/>
                <a:gd name="T30" fmla="*/ 128 w 1050"/>
                <a:gd name="T31" fmla="*/ 1163 h 1187"/>
                <a:gd name="T32" fmla="*/ 148 w 1050"/>
                <a:gd name="T33" fmla="*/ 1171 h 1187"/>
                <a:gd name="T34" fmla="*/ 148 w 1050"/>
                <a:gd name="T35" fmla="*/ 1169 h 1187"/>
                <a:gd name="T36" fmla="*/ 363 w 1050"/>
                <a:gd name="T37" fmla="*/ 728 h 1187"/>
                <a:gd name="T38" fmla="*/ 375 w 1050"/>
                <a:gd name="T39" fmla="*/ 678 h 1187"/>
                <a:gd name="T40" fmla="*/ 463 w 1050"/>
                <a:gd name="T41" fmla="*/ 728 h 1187"/>
                <a:gd name="T42" fmla="*/ 475 w 1050"/>
                <a:gd name="T43" fmla="*/ 678 h 1187"/>
                <a:gd name="T44" fmla="*/ 563 w 1050"/>
                <a:gd name="T45" fmla="*/ 728 h 1187"/>
                <a:gd name="T46" fmla="*/ 575 w 1050"/>
                <a:gd name="T47" fmla="*/ 678 h 1187"/>
                <a:gd name="T48" fmla="*/ 663 w 1050"/>
                <a:gd name="T49" fmla="*/ 728 h 1187"/>
                <a:gd name="T50" fmla="*/ 675 w 1050"/>
                <a:gd name="T51" fmla="*/ 678 h 1187"/>
                <a:gd name="T52" fmla="*/ 727 w 1050"/>
                <a:gd name="T53" fmla="*/ 728 h 1187"/>
                <a:gd name="T54" fmla="*/ 877 w 1050"/>
                <a:gd name="T55" fmla="*/ 798 h 1187"/>
                <a:gd name="T56" fmla="*/ 875 w 1050"/>
                <a:gd name="T57" fmla="*/ 728 h 1187"/>
                <a:gd name="T58" fmla="*/ 888 w 1050"/>
                <a:gd name="T59" fmla="*/ 678 h 1187"/>
                <a:gd name="T60" fmla="*/ 975 w 1050"/>
                <a:gd name="T61" fmla="*/ 728 h 1187"/>
                <a:gd name="T62" fmla="*/ 988 w 1050"/>
                <a:gd name="T63" fmla="*/ 678 h 1187"/>
                <a:gd name="T64" fmla="*/ 1050 w 1050"/>
                <a:gd name="T65" fmla="*/ 728 h 1187"/>
                <a:gd name="T66" fmla="*/ 815 w 1050"/>
                <a:gd name="T67" fmla="*/ 578 h 1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50" h="1187">
                  <a:moveTo>
                    <a:pt x="815" y="578"/>
                  </a:moveTo>
                  <a:cubicBezTo>
                    <a:pt x="746" y="340"/>
                    <a:pt x="636" y="0"/>
                    <a:pt x="575" y="18"/>
                  </a:cubicBezTo>
                  <a:cubicBezTo>
                    <a:pt x="518" y="36"/>
                    <a:pt x="603" y="340"/>
                    <a:pt x="677" y="578"/>
                  </a:cubicBezTo>
                  <a:lnTo>
                    <a:pt x="401" y="578"/>
                  </a:lnTo>
                  <a:lnTo>
                    <a:pt x="478" y="396"/>
                  </a:lnTo>
                  <a:lnTo>
                    <a:pt x="359" y="346"/>
                  </a:lnTo>
                  <a:lnTo>
                    <a:pt x="261" y="578"/>
                  </a:lnTo>
                  <a:lnTo>
                    <a:pt x="0" y="578"/>
                  </a:lnTo>
                  <a:lnTo>
                    <a:pt x="0" y="728"/>
                  </a:lnTo>
                  <a:lnTo>
                    <a:pt x="75" y="728"/>
                  </a:lnTo>
                  <a:lnTo>
                    <a:pt x="75" y="678"/>
                  </a:lnTo>
                  <a:lnTo>
                    <a:pt x="88" y="678"/>
                  </a:lnTo>
                  <a:lnTo>
                    <a:pt x="88" y="728"/>
                  </a:lnTo>
                  <a:lnTo>
                    <a:pt x="163" y="728"/>
                  </a:lnTo>
                  <a:lnTo>
                    <a:pt x="163" y="678"/>
                  </a:lnTo>
                  <a:lnTo>
                    <a:pt x="175" y="678"/>
                  </a:lnTo>
                  <a:lnTo>
                    <a:pt x="175" y="728"/>
                  </a:lnTo>
                  <a:lnTo>
                    <a:pt x="195" y="728"/>
                  </a:lnTo>
                  <a:lnTo>
                    <a:pt x="30" y="1118"/>
                  </a:lnTo>
                  <a:cubicBezTo>
                    <a:pt x="30" y="1119"/>
                    <a:pt x="29" y="1120"/>
                    <a:pt x="29" y="1120"/>
                  </a:cubicBezTo>
                  <a:cubicBezTo>
                    <a:pt x="25" y="1130"/>
                    <a:pt x="28" y="1141"/>
                    <a:pt x="36" y="1144"/>
                  </a:cubicBezTo>
                  <a:cubicBezTo>
                    <a:pt x="43" y="1148"/>
                    <a:pt x="53" y="1143"/>
                    <a:pt x="57" y="1133"/>
                  </a:cubicBezTo>
                  <a:cubicBezTo>
                    <a:pt x="58" y="1132"/>
                    <a:pt x="58" y="1132"/>
                    <a:pt x="58" y="1132"/>
                  </a:cubicBezTo>
                  <a:lnTo>
                    <a:pt x="58" y="1132"/>
                  </a:lnTo>
                  <a:cubicBezTo>
                    <a:pt x="58" y="1132"/>
                    <a:pt x="58" y="1132"/>
                    <a:pt x="57" y="1133"/>
                  </a:cubicBezTo>
                  <a:cubicBezTo>
                    <a:pt x="53" y="1143"/>
                    <a:pt x="59" y="1154"/>
                    <a:pt x="70" y="1159"/>
                  </a:cubicBezTo>
                  <a:cubicBezTo>
                    <a:pt x="79" y="1163"/>
                    <a:pt x="89" y="1161"/>
                    <a:pt x="95" y="1155"/>
                  </a:cubicBezTo>
                  <a:cubicBezTo>
                    <a:pt x="94" y="1163"/>
                    <a:pt x="98" y="1171"/>
                    <a:pt x="105" y="1174"/>
                  </a:cubicBezTo>
                  <a:cubicBezTo>
                    <a:pt x="114" y="1178"/>
                    <a:pt x="124" y="1173"/>
                    <a:pt x="128" y="1163"/>
                  </a:cubicBezTo>
                  <a:cubicBezTo>
                    <a:pt x="129" y="1163"/>
                    <a:pt x="129" y="1162"/>
                    <a:pt x="129" y="1162"/>
                  </a:cubicBezTo>
                  <a:lnTo>
                    <a:pt x="129" y="1162"/>
                  </a:lnTo>
                  <a:cubicBezTo>
                    <a:pt x="129" y="1162"/>
                    <a:pt x="129" y="1163"/>
                    <a:pt x="128" y="1163"/>
                  </a:cubicBezTo>
                  <a:cubicBezTo>
                    <a:pt x="124" y="1173"/>
                    <a:pt x="125" y="1183"/>
                    <a:pt x="131" y="1185"/>
                  </a:cubicBezTo>
                  <a:cubicBezTo>
                    <a:pt x="136" y="1187"/>
                    <a:pt x="144" y="1181"/>
                    <a:pt x="148" y="1171"/>
                  </a:cubicBezTo>
                  <a:cubicBezTo>
                    <a:pt x="148" y="1171"/>
                    <a:pt x="148" y="1171"/>
                    <a:pt x="148" y="1170"/>
                  </a:cubicBezTo>
                  <a:lnTo>
                    <a:pt x="148" y="1169"/>
                  </a:lnTo>
                  <a:lnTo>
                    <a:pt x="336" y="728"/>
                  </a:lnTo>
                  <a:lnTo>
                    <a:pt x="363" y="728"/>
                  </a:lnTo>
                  <a:lnTo>
                    <a:pt x="363" y="678"/>
                  </a:lnTo>
                  <a:lnTo>
                    <a:pt x="375" y="678"/>
                  </a:lnTo>
                  <a:lnTo>
                    <a:pt x="375" y="728"/>
                  </a:lnTo>
                  <a:lnTo>
                    <a:pt x="463" y="728"/>
                  </a:lnTo>
                  <a:lnTo>
                    <a:pt x="463" y="678"/>
                  </a:lnTo>
                  <a:lnTo>
                    <a:pt x="475" y="678"/>
                  </a:lnTo>
                  <a:lnTo>
                    <a:pt x="475" y="728"/>
                  </a:lnTo>
                  <a:lnTo>
                    <a:pt x="563" y="728"/>
                  </a:lnTo>
                  <a:lnTo>
                    <a:pt x="563" y="678"/>
                  </a:lnTo>
                  <a:lnTo>
                    <a:pt x="575" y="678"/>
                  </a:lnTo>
                  <a:lnTo>
                    <a:pt x="575" y="728"/>
                  </a:lnTo>
                  <a:lnTo>
                    <a:pt x="663" y="728"/>
                  </a:lnTo>
                  <a:lnTo>
                    <a:pt x="663" y="678"/>
                  </a:lnTo>
                  <a:lnTo>
                    <a:pt x="675" y="678"/>
                  </a:lnTo>
                  <a:lnTo>
                    <a:pt x="675" y="728"/>
                  </a:lnTo>
                  <a:lnTo>
                    <a:pt x="727" y="728"/>
                  </a:lnTo>
                  <a:cubicBezTo>
                    <a:pt x="746" y="790"/>
                    <a:pt x="760" y="824"/>
                    <a:pt x="763" y="833"/>
                  </a:cubicBezTo>
                  <a:lnTo>
                    <a:pt x="877" y="798"/>
                  </a:lnTo>
                  <a:cubicBezTo>
                    <a:pt x="875" y="791"/>
                    <a:pt x="868" y="765"/>
                    <a:pt x="858" y="728"/>
                  </a:cubicBezTo>
                  <a:lnTo>
                    <a:pt x="875" y="728"/>
                  </a:lnTo>
                  <a:lnTo>
                    <a:pt x="875" y="678"/>
                  </a:lnTo>
                  <a:lnTo>
                    <a:pt x="888" y="678"/>
                  </a:lnTo>
                  <a:lnTo>
                    <a:pt x="888" y="728"/>
                  </a:lnTo>
                  <a:lnTo>
                    <a:pt x="975" y="728"/>
                  </a:lnTo>
                  <a:lnTo>
                    <a:pt x="975" y="678"/>
                  </a:lnTo>
                  <a:lnTo>
                    <a:pt x="988" y="678"/>
                  </a:lnTo>
                  <a:lnTo>
                    <a:pt x="988" y="728"/>
                  </a:lnTo>
                  <a:lnTo>
                    <a:pt x="1050" y="728"/>
                  </a:lnTo>
                  <a:lnTo>
                    <a:pt x="1050" y="578"/>
                  </a:lnTo>
                  <a:lnTo>
                    <a:pt x="815" y="57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" name="Application">
              <a:extLst>
                <a:ext uri="{FF2B5EF4-FFF2-40B4-BE49-F238E27FC236}">
                  <a16:creationId xmlns:a16="http://schemas.microsoft.com/office/drawing/2014/main" id="{AB48D44C-C6FC-17CB-91B3-8B1E88255DEE}"/>
                </a:ext>
              </a:extLst>
            </p:cNvPr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198" y="58"/>
              <a:ext cx="57" cy="51"/>
            </a:xfrm>
            <a:custGeom>
              <a:avLst/>
              <a:gdLst>
                <a:gd name="T0" fmla="*/ 143 w 151"/>
                <a:gd name="T1" fmla="*/ 79 h 134"/>
                <a:gd name="T2" fmla="*/ 122 w 151"/>
                <a:gd name="T3" fmla="*/ 29 h 134"/>
                <a:gd name="T4" fmla="*/ 74 w 151"/>
                <a:gd name="T5" fmla="*/ 8 h 134"/>
                <a:gd name="T6" fmla="*/ 24 w 151"/>
                <a:gd name="T7" fmla="*/ 29 h 134"/>
                <a:gd name="T8" fmla="*/ 0 w 151"/>
                <a:gd name="T9" fmla="*/ 84 h 134"/>
                <a:gd name="T10" fmla="*/ 119 w 151"/>
                <a:gd name="T11" fmla="*/ 134 h 134"/>
                <a:gd name="T12" fmla="*/ 143 w 151"/>
                <a:gd name="T13" fmla="*/ 79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1" h="134">
                  <a:moveTo>
                    <a:pt x="143" y="79"/>
                  </a:moveTo>
                  <a:cubicBezTo>
                    <a:pt x="151" y="60"/>
                    <a:pt x="142" y="37"/>
                    <a:pt x="122" y="29"/>
                  </a:cubicBezTo>
                  <a:lnTo>
                    <a:pt x="74" y="8"/>
                  </a:lnTo>
                  <a:cubicBezTo>
                    <a:pt x="55" y="0"/>
                    <a:pt x="32" y="9"/>
                    <a:pt x="24" y="29"/>
                  </a:cubicBezTo>
                  <a:lnTo>
                    <a:pt x="0" y="84"/>
                  </a:lnTo>
                  <a:lnTo>
                    <a:pt x="119" y="134"/>
                  </a:lnTo>
                  <a:lnTo>
                    <a:pt x="143" y="7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" name="Application">
              <a:extLst>
                <a:ext uri="{FF2B5EF4-FFF2-40B4-BE49-F238E27FC236}">
                  <a16:creationId xmlns:a16="http://schemas.microsoft.com/office/drawing/2014/main" id="{E471135B-4D66-4B53-0F71-1961FDA7921B}"/>
                </a:ext>
              </a:extLst>
            </p:cNvPr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183" y="97"/>
              <a:ext cx="57" cy="47"/>
            </a:xfrm>
            <a:custGeom>
              <a:avLst/>
              <a:gdLst>
                <a:gd name="T0" fmla="*/ 31 w 150"/>
                <a:gd name="T1" fmla="*/ 0 h 124"/>
                <a:gd name="T2" fmla="*/ 150 w 150"/>
                <a:gd name="T3" fmla="*/ 51 h 124"/>
                <a:gd name="T4" fmla="*/ 119 w 150"/>
                <a:gd name="T5" fmla="*/ 124 h 124"/>
                <a:gd name="T6" fmla="*/ 0 w 150"/>
                <a:gd name="T7" fmla="*/ 73 h 124"/>
                <a:gd name="T8" fmla="*/ 31 w 150"/>
                <a:gd name="T9" fmla="*/ 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0" h="124">
                  <a:moveTo>
                    <a:pt x="31" y="0"/>
                  </a:moveTo>
                  <a:lnTo>
                    <a:pt x="150" y="51"/>
                  </a:lnTo>
                  <a:lnTo>
                    <a:pt x="119" y="124"/>
                  </a:lnTo>
                  <a:lnTo>
                    <a:pt x="0" y="73"/>
                  </a:lnTo>
                  <a:lnTo>
                    <a:pt x="3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Application">
              <a:extLst>
                <a:ext uri="{FF2B5EF4-FFF2-40B4-BE49-F238E27FC236}">
                  <a16:creationId xmlns:a16="http://schemas.microsoft.com/office/drawing/2014/main" id="{2BAAB7BD-FE77-897F-DCE7-0B227B299311}"/>
                </a:ext>
              </a:extLst>
            </p:cNvPr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57" y="456"/>
              <a:ext cx="20" cy="23"/>
            </a:xfrm>
            <a:custGeom>
              <a:avLst/>
              <a:gdLst>
                <a:gd name="T0" fmla="*/ 5 w 52"/>
                <a:gd name="T1" fmla="*/ 61 h 61"/>
                <a:gd name="T2" fmla="*/ 52 w 52"/>
                <a:gd name="T3" fmla="*/ 22 h 61"/>
                <a:gd name="T4" fmla="*/ 0 w 52"/>
                <a:gd name="T5" fmla="*/ 0 h 61"/>
                <a:gd name="T6" fmla="*/ 5 w 52"/>
                <a:gd name="T7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2" h="61">
                  <a:moveTo>
                    <a:pt x="5" y="61"/>
                  </a:moveTo>
                  <a:lnTo>
                    <a:pt x="52" y="22"/>
                  </a:lnTo>
                  <a:lnTo>
                    <a:pt x="0" y="0"/>
                  </a:lnTo>
                  <a:lnTo>
                    <a:pt x="5" y="6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6" name="TextBox 35">
            <a:extLst>
              <a:ext uri="{FF2B5EF4-FFF2-40B4-BE49-F238E27FC236}">
                <a16:creationId xmlns:a16="http://schemas.microsoft.com/office/drawing/2014/main" id="{E490500C-3FB3-2B18-DE44-3B2E4833738B}"/>
              </a:ext>
            </a:extLst>
          </p:cNvPr>
          <p:cNvSpPr txBox="1"/>
          <p:nvPr/>
        </p:nvSpPr>
        <p:spPr>
          <a:xfrm>
            <a:off x="1059140" y="4517699"/>
            <a:ext cx="226800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dirty="0">
                <a:solidFill>
                  <a:prstClr val="black"/>
                </a:solidFill>
              </a:rPr>
              <a:t>For when you try new incremental  advertising mail activity.</a:t>
            </a:r>
            <a:endParaRPr lang="en-GB" dirty="0">
              <a:solidFill>
                <a:prstClr val="black"/>
              </a:solidFill>
              <a:ea typeface="Noto Sans" panose="020B0502040504020204" pitchFamily="34"/>
              <a:cs typeface="Noto Sans" panose="020B0502040504020204" pitchFamily="34"/>
            </a:endParaRPr>
          </a:p>
          <a:p>
            <a:pPr lvl="0" algn="ctr">
              <a:defRPr/>
            </a:pPr>
            <a:endParaRPr lang="en-GB" dirty="0">
              <a:solidFill>
                <a:prstClr val="black"/>
              </a:solidFill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9C1D7A50-F8FC-6E37-3490-B42DD97E80E5}"/>
              </a:ext>
            </a:extLst>
          </p:cNvPr>
          <p:cNvSpPr txBox="1"/>
          <p:nvPr/>
        </p:nvSpPr>
        <p:spPr>
          <a:xfrm>
            <a:off x="8923996" y="4517699"/>
            <a:ext cx="226800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For more information and  to apply go to 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  <a:hlinkClick r:id="rId16"/>
              </a:rPr>
              <a:t>www.royalmailwholesale.com</a:t>
            </a:r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Noto Sans" panose="020B0502040504020204" pitchFamily="34"/>
              <a:cs typeface="Noto Sans" panose="020B0502040504020204" pitchFamily="34"/>
            </a:endParaRPr>
          </a:p>
        </p:txBody>
      </p:sp>
    </p:spTree>
    <p:extLst>
      <p:ext uri="{BB962C8B-B14F-4D97-AF65-F5344CB8AC3E}">
        <p14:creationId xmlns:p14="http://schemas.microsoft.com/office/powerpoint/2010/main" val="150523194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4CA3A3-5C83-A276-687C-3446CB1E8C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ntry requirement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4CA8792-4614-7E79-A6F5-6BA3654B1E5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4648A7B-9BBF-0BF6-7132-3D23F3B2DC9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5</a:t>
            </a:fld>
            <a:endParaRPr lang="en-GB" dirty="0"/>
          </a:p>
        </p:txBody>
      </p:sp>
      <p:sp>
        <p:nvSpPr>
          <p:cNvPr id="7" name="Arrow14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BFB4530B-68E8-C2AE-D50E-0343E9924E8D}"/>
              </a:ext>
            </a:extLst>
          </p:cNvPr>
          <p:cNvSpPr>
            <a:spLocks noChangeAspect="1"/>
          </p:cNvSpPr>
          <p:nvPr/>
        </p:nvSpPr>
        <p:spPr>
          <a:xfrm>
            <a:off x="942871" y="2203928"/>
            <a:ext cx="2385398" cy="2381494"/>
          </a:xfrm>
          <a:custGeom>
            <a:avLst/>
            <a:gdLst>
              <a:gd name="connsiteX0" fmla="*/ 452467 w 1234992"/>
              <a:gd name="connsiteY0" fmla="*/ 41055 h 1232971"/>
              <a:gd name="connsiteX1" fmla="*/ 543917 w 1234992"/>
              <a:gd name="connsiteY1" fmla="*/ 3175 h 1232971"/>
              <a:gd name="connsiteX2" fmla="*/ 1087323 w 1234992"/>
              <a:gd name="connsiteY2" fmla="*/ 3175 h 1232971"/>
              <a:gd name="connsiteX3" fmla="*/ 1103642 w 1234992"/>
              <a:gd name="connsiteY3" fmla="*/ 0 h 1232971"/>
              <a:gd name="connsiteX4" fmla="*/ 1195092 w 1234992"/>
              <a:gd name="connsiteY4" fmla="*/ 37879 h 1232971"/>
              <a:gd name="connsiteX5" fmla="*/ 1223502 w 1234992"/>
              <a:gd name="connsiteY5" fmla="*/ 80662 h 1232971"/>
              <a:gd name="connsiteX6" fmla="*/ 1224251 w 1234992"/>
              <a:gd name="connsiteY6" fmla="*/ 84512 h 1232971"/>
              <a:gd name="connsiteX7" fmla="*/ 1224829 w 1234992"/>
              <a:gd name="connsiteY7" fmla="*/ 85369 h 1232971"/>
              <a:gd name="connsiteX8" fmla="*/ 1234992 w 1234992"/>
              <a:gd name="connsiteY8" fmla="*/ 135710 h 1232971"/>
              <a:gd name="connsiteX9" fmla="*/ 1234992 w 1234992"/>
              <a:gd name="connsiteY9" fmla="*/ 694250 h 1232971"/>
              <a:gd name="connsiteX10" fmla="*/ 1105662 w 1234992"/>
              <a:gd name="connsiteY10" fmla="*/ 823580 h 1232971"/>
              <a:gd name="connsiteX11" fmla="*/ 976332 w 1234992"/>
              <a:gd name="connsiteY11" fmla="*/ 694250 h 1232971"/>
              <a:gd name="connsiteX12" fmla="*/ 976332 w 1234992"/>
              <a:gd name="connsiteY12" fmla="*/ 439540 h 1232971"/>
              <a:gd name="connsiteX13" fmla="*/ 220780 w 1234992"/>
              <a:gd name="connsiteY13" fmla="*/ 1195091 h 1232971"/>
              <a:gd name="connsiteX14" fmla="*/ 37880 w 1234992"/>
              <a:gd name="connsiteY14" fmla="*/ 1195091 h 1232971"/>
              <a:gd name="connsiteX15" fmla="*/ 37880 w 1234992"/>
              <a:gd name="connsiteY15" fmla="*/ 1012191 h 1232971"/>
              <a:gd name="connsiteX16" fmla="*/ 788236 w 1234992"/>
              <a:gd name="connsiteY16" fmla="*/ 261835 h 1232971"/>
              <a:gd name="connsiteX17" fmla="*/ 543917 w 1234992"/>
              <a:gd name="connsiteY17" fmla="*/ 261835 h 1232971"/>
              <a:gd name="connsiteX18" fmla="*/ 414587 w 1234992"/>
              <a:gd name="connsiteY18" fmla="*/ 132505 h 1232971"/>
              <a:gd name="connsiteX19" fmla="*/ 452467 w 1234992"/>
              <a:gd name="connsiteY19" fmla="*/ 41055 h 1232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34992" h="1232971">
                <a:moveTo>
                  <a:pt x="452467" y="41055"/>
                </a:moveTo>
                <a:cubicBezTo>
                  <a:pt x="475871" y="17651"/>
                  <a:pt x="508204" y="3175"/>
                  <a:pt x="543917" y="3175"/>
                </a:cubicBezTo>
                <a:lnTo>
                  <a:pt x="1087323" y="3175"/>
                </a:lnTo>
                <a:lnTo>
                  <a:pt x="1103642" y="0"/>
                </a:lnTo>
                <a:cubicBezTo>
                  <a:pt x="1136740" y="-1"/>
                  <a:pt x="1169839" y="12626"/>
                  <a:pt x="1195092" y="37879"/>
                </a:cubicBezTo>
                <a:cubicBezTo>
                  <a:pt x="1207719" y="50506"/>
                  <a:pt x="1217188" y="65094"/>
                  <a:pt x="1223502" y="80662"/>
                </a:cubicBezTo>
                <a:lnTo>
                  <a:pt x="1224251" y="84512"/>
                </a:lnTo>
                <a:lnTo>
                  <a:pt x="1224829" y="85369"/>
                </a:lnTo>
                <a:cubicBezTo>
                  <a:pt x="1231373" y="100842"/>
                  <a:pt x="1234992" y="117853"/>
                  <a:pt x="1234992" y="135710"/>
                </a:cubicBezTo>
                <a:lnTo>
                  <a:pt x="1234992" y="694250"/>
                </a:lnTo>
                <a:cubicBezTo>
                  <a:pt x="1234992" y="765677"/>
                  <a:pt x="1177089" y="823580"/>
                  <a:pt x="1105662" y="823580"/>
                </a:cubicBezTo>
                <a:cubicBezTo>
                  <a:pt x="1034235" y="823580"/>
                  <a:pt x="976332" y="765677"/>
                  <a:pt x="976332" y="694250"/>
                </a:cubicBezTo>
                <a:lnTo>
                  <a:pt x="976332" y="439540"/>
                </a:lnTo>
                <a:lnTo>
                  <a:pt x="220780" y="1195091"/>
                </a:lnTo>
                <a:cubicBezTo>
                  <a:pt x="170274" y="1245598"/>
                  <a:pt x="88386" y="1245598"/>
                  <a:pt x="37880" y="1195091"/>
                </a:cubicBezTo>
                <a:cubicBezTo>
                  <a:pt x="-12627" y="1144585"/>
                  <a:pt x="-12627" y="1062698"/>
                  <a:pt x="37880" y="1012191"/>
                </a:cubicBezTo>
                <a:lnTo>
                  <a:pt x="788236" y="261835"/>
                </a:lnTo>
                <a:lnTo>
                  <a:pt x="543917" y="261835"/>
                </a:lnTo>
                <a:cubicBezTo>
                  <a:pt x="472490" y="261835"/>
                  <a:pt x="414587" y="203932"/>
                  <a:pt x="414587" y="132505"/>
                </a:cubicBezTo>
                <a:cubicBezTo>
                  <a:pt x="414587" y="96792"/>
                  <a:pt x="429063" y="64459"/>
                  <a:pt x="452467" y="41055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  <a:scene3d>
              <a:camera prst="orthographicFront">
                <a:rot lat="0" lon="0" rev="0"/>
              </a:camera>
              <a:lightRig rig="threePt" dir="t"/>
            </a:scene3d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Arrow14 - 1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90E328CB-A4DC-90AA-2352-AB3527785FFB}"/>
              </a:ext>
            </a:extLst>
          </p:cNvPr>
          <p:cNvSpPr>
            <a:spLocks noChangeAspect="1"/>
          </p:cNvSpPr>
          <p:nvPr/>
        </p:nvSpPr>
        <p:spPr>
          <a:xfrm>
            <a:off x="3583158" y="2203928"/>
            <a:ext cx="2385398" cy="2381494"/>
          </a:xfrm>
          <a:custGeom>
            <a:avLst/>
            <a:gdLst>
              <a:gd name="connsiteX0" fmla="*/ 452467 w 1234992"/>
              <a:gd name="connsiteY0" fmla="*/ 41055 h 1232971"/>
              <a:gd name="connsiteX1" fmla="*/ 543917 w 1234992"/>
              <a:gd name="connsiteY1" fmla="*/ 3175 h 1232971"/>
              <a:gd name="connsiteX2" fmla="*/ 1087323 w 1234992"/>
              <a:gd name="connsiteY2" fmla="*/ 3175 h 1232971"/>
              <a:gd name="connsiteX3" fmla="*/ 1103642 w 1234992"/>
              <a:gd name="connsiteY3" fmla="*/ 0 h 1232971"/>
              <a:gd name="connsiteX4" fmla="*/ 1195092 w 1234992"/>
              <a:gd name="connsiteY4" fmla="*/ 37879 h 1232971"/>
              <a:gd name="connsiteX5" fmla="*/ 1223502 w 1234992"/>
              <a:gd name="connsiteY5" fmla="*/ 80662 h 1232971"/>
              <a:gd name="connsiteX6" fmla="*/ 1224251 w 1234992"/>
              <a:gd name="connsiteY6" fmla="*/ 84512 h 1232971"/>
              <a:gd name="connsiteX7" fmla="*/ 1224829 w 1234992"/>
              <a:gd name="connsiteY7" fmla="*/ 85369 h 1232971"/>
              <a:gd name="connsiteX8" fmla="*/ 1234992 w 1234992"/>
              <a:gd name="connsiteY8" fmla="*/ 135710 h 1232971"/>
              <a:gd name="connsiteX9" fmla="*/ 1234992 w 1234992"/>
              <a:gd name="connsiteY9" fmla="*/ 694250 h 1232971"/>
              <a:gd name="connsiteX10" fmla="*/ 1105662 w 1234992"/>
              <a:gd name="connsiteY10" fmla="*/ 823580 h 1232971"/>
              <a:gd name="connsiteX11" fmla="*/ 976332 w 1234992"/>
              <a:gd name="connsiteY11" fmla="*/ 694250 h 1232971"/>
              <a:gd name="connsiteX12" fmla="*/ 976332 w 1234992"/>
              <a:gd name="connsiteY12" fmla="*/ 439540 h 1232971"/>
              <a:gd name="connsiteX13" fmla="*/ 220780 w 1234992"/>
              <a:gd name="connsiteY13" fmla="*/ 1195091 h 1232971"/>
              <a:gd name="connsiteX14" fmla="*/ 37880 w 1234992"/>
              <a:gd name="connsiteY14" fmla="*/ 1195091 h 1232971"/>
              <a:gd name="connsiteX15" fmla="*/ 37880 w 1234992"/>
              <a:gd name="connsiteY15" fmla="*/ 1012191 h 1232971"/>
              <a:gd name="connsiteX16" fmla="*/ 788236 w 1234992"/>
              <a:gd name="connsiteY16" fmla="*/ 261835 h 1232971"/>
              <a:gd name="connsiteX17" fmla="*/ 543917 w 1234992"/>
              <a:gd name="connsiteY17" fmla="*/ 261835 h 1232971"/>
              <a:gd name="connsiteX18" fmla="*/ 414587 w 1234992"/>
              <a:gd name="connsiteY18" fmla="*/ 132505 h 1232971"/>
              <a:gd name="connsiteX19" fmla="*/ 452467 w 1234992"/>
              <a:gd name="connsiteY19" fmla="*/ 41055 h 1232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34992" h="1232971">
                <a:moveTo>
                  <a:pt x="452467" y="41055"/>
                </a:moveTo>
                <a:cubicBezTo>
                  <a:pt x="475871" y="17651"/>
                  <a:pt x="508204" y="3175"/>
                  <a:pt x="543917" y="3175"/>
                </a:cubicBezTo>
                <a:lnTo>
                  <a:pt x="1087323" y="3175"/>
                </a:lnTo>
                <a:lnTo>
                  <a:pt x="1103642" y="0"/>
                </a:lnTo>
                <a:cubicBezTo>
                  <a:pt x="1136740" y="-1"/>
                  <a:pt x="1169839" y="12626"/>
                  <a:pt x="1195092" y="37879"/>
                </a:cubicBezTo>
                <a:cubicBezTo>
                  <a:pt x="1207719" y="50506"/>
                  <a:pt x="1217188" y="65094"/>
                  <a:pt x="1223502" y="80662"/>
                </a:cubicBezTo>
                <a:lnTo>
                  <a:pt x="1224251" y="84512"/>
                </a:lnTo>
                <a:lnTo>
                  <a:pt x="1224829" y="85369"/>
                </a:lnTo>
                <a:cubicBezTo>
                  <a:pt x="1231373" y="100842"/>
                  <a:pt x="1234992" y="117853"/>
                  <a:pt x="1234992" y="135710"/>
                </a:cubicBezTo>
                <a:lnTo>
                  <a:pt x="1234992" y="694250"/>
                </a:lnTo>
                <a:cubicBezTo>
                  <a:pt x="1234992" y="765677"/>
                  <a:pt x="1177089" y="823580"/>
                  <a:pt x="1105662" y="823580"/>
                </a:cubicBezTo>
                <a:cubicBezTo>
                  <a:pt x="1034235" y="823580"/>
                  <a:pt x="976332" y="765677"/>
                  <a:pt x="976332" y="694250"/>
                </a:cubicBezTo>
                <a:lnTo>
                  <a:pt x="976332" y="439540"/>
                </a:lnTo>
                <a:lnTo>
                  <a:pt x="220780" y="1195091"/>
                </a:lnTo>
                <a:cubicBezTo>
                  <a:pt x="170274" y="1245598"/>
                  <a:pt x="88386" y="1245598"/>
                  <a:pt x="37880" y="1195091"/>
                </a:cubicBezTo>
                <a:cubicBezTo>
                  <a:pt x="-12627" y="1144585"/>
                  <a:pt x="-12627" y="1062698"/>
                  <a:pt x="37880" y="1012191"/>
                </a:cubicBezTo>
                <a:lnTo>
                  <a:pt x="788236" y="261835"/>
                </a:lnTo>
                <a:lnTo>
                  <a:pt x="543917" y="261835"/>
                </a:lnTo>
                <a:cubicBezTo>
                  <a:pt x="472490" y="261835"/>
                  <a:pt x="414587" y="203932"/>
                  <a:pt x="414587" y="132505"/>
                </a:cubicBezTo>
                <a:cubicBezTo>
                  <a:pt x="414587" y="96792"/>
                  <a:pt x="429063" y="64459"/>
                  <a:pt x="452467" y="41055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Arrow14 - 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FEADC515-6C60-987A-EEDB-EB9778386D13}"/>
              </a:ext>
            </a:extLst>
          </p:cNvPr>
          <p:cNvSpPr>
            <a:spLocks noChangeAspect="1"/>
          </p:cNvSpPr>
          <p:nvPr/>
        </p:nvSpPr>
        <p:spPr>
          <a:xfrm>
            <a:off x="6223445" y="2203928"/>
            <a:ext cx="2385398" cy="2381494"/>
          </a:xfrm>
          <a:custGeom>
            <a:avLst/>
            <a:gdLst>
              <a:gd name="connsiteX0" fmla="*/ 452467 w 1234992"/>
              <a:gd name="connsiteY0" fmla="*/ 41055 h 1232971"/>
              <a:gd name="connsiteX1" fmla="*/ 543917 w 1234992"/>
              <a:gd name="connsiteY1" fmla="*/ 3175 h 1232971"/>
              <a:gd name="connsiteX2" fmla="*/ 1087323 w 1234992"/>
              <a:gd name="connsiteY2" fmla="*/ 3175 h 1232971"/>
              <a:gd name="connsiteX3" fmla="*/ 1103642 w 1234992"/>
              <a:gd name="connsiteY3" fmla="*/ 0 h 1232971"/>
              <a:gd name="connsiteX4" fmla="*/ 1195092 w 1234992"/>
              <a:gd name="connsiteY4" fmla="*/ 37879 h 1232971"/>
              <a:gd name="connsiteX5" fmla="*/ 1223502 w 1234992"/>
              <a:gd name="connsiteY5" fmla="*/ 80662 h 1232971"/>
              <a:gd name="connsiteX6" fmla="*/ 1224251 w 1234992"/>
              <a:gd name="connsiteY6" fmla="*/ 84512 h 1232971"/>
              <a:gd name="connsiteX7" fmla="*/ 1224829 w 1234992"/>
              <a:gd name="connsiteY7" fmla="*/ 85369 h 1232971"/>
              <a:gd name="connsiteX8" fmla="*/ 1234992 w 1234992"/>
              <a:gd name="connsiteY8" fmla="*/ 135710 h 1232971"/>
              <a:gd name="connsiteX9" fmla="*/ 1234992 w 1234992"/>
              <a:gd name="connsiteY9" fmla="*/ 694250 h 1232971"/>
              <a:gd name="connsiteX10" fmla="*/ 1105662 w 1234992"/>
              <a:gd name="connsiteY10" fmla="*/ 823580 h 1232971"/>
              <a:gd name="connsiteX11" fmla="*/ 976332 w 1234992"/>
              <a:gd name="connsiteY11" fmla="*/ 694250 h 1232971"/>
              <a:gd name="connsiteX12" fmla="*/ 976332 w 1234992"/>
              <a:gd name="connsiteY12" fmla="*/ 439540 h 1232971"/>
              <a:gd name="connsiteX13" fmla="*/ 220780 w 1234992"/>
              <a:gd name="connsiteY13" fmla="*/ 1195091 h 1232971"/>
              <a:gd name="connsiteX14" fmla="*/ 37880 w 1234992"/>
              <a:gd name="connsiteY14" fmla="*/ 1195091 h 1232971"/>
              <a:gd name="connsiteX15" fmla="*/ 37880 w 1234992"/>
              <a:gd name="connsiteY15" fmla="*/ 1012191 h 1232971"/>
              <a:gd name="connsiteX16" fmla="*/ 788236 w 1234992"/>
              <a:gd name="connsiteY16" fmla="*/ 261835 h 1232971"/>
              <a:gd name="connsiteX17" fmla="*/ 543917 w 1234992"/>
              <a:gd name="connsiteY17" fmla="*/ 261835 h 1232971"/>
              <a:gd name="connsiteX18" fmla="*/ 414587 w 1234992"/>
              <a:gd name="connsiteY18" fmla="*/ 132505 h 1232971"/>
              <a:gd name="connsiteX19" fmla="*/ 452467 w 1234992"/>
              <a:gd name="connsiteY19" fmla="*/ 41055 h 1232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34992" h="1232971">
                <a:moveTo>
                  <a:pt x="452467" y="41055"/>
                </a:moveTo>
                <a:cubicBezTo>
                  <a:pt x="475871" y="17651"/>
                  <a:pt x="508204" y="3175"/>
                  <a:pt x="543917" y="3175"/>
                </a:cubicBezTo>
                <a:lnTo>
                  <a:pt x="1087323" y="3175"/>
                </a:lnTo>
                <a:lnTo>
                  <a:pt x="1103642" y="0"/>
                </a:lnTo>
                <a:cubicBezTo>
                  <a:pt x="1136740" y="-1"/>
                  <a:pt x="1169839" y="12626"/>
                  <a:pt x="1195092" y="37879"/>
                </a:cubicBezTo>
                <a:cubicBezTo>
                  <a:pt x="1207719" y="50506"/>
                  <a:pt x="1217188" y="65094"/>
                  <a:pt x="1223502" y="80662"/>
                </a:cubicBezTo>
                <a:lnTo>
                  <a:pt x="1224251" y="84512"/>
                </a:lnTo>
                <a:lnTo>
                  <a:pt x="1224829" y="85369"/>
                </a:lnTo>
                <a:cubicBezTo>
                  <a:pt x="1231373" y="100842"/>
                  <a:pt x="1234992" y="117853"/>
                  <a:pt x="1234992" y="135710"/>
                </a:cubicBezTo>
                <a:lnTo>
                  <a:pt x="1234992" y="694250"/>
                </a:lnTo>
                <a:cubicBezTo>
                  <a:pt x="1234992" y="765677"/>
                  <a:pt x="1177089" y="823580"/>
                  <a:pt x="1105662" y="823580"/>
                </a:cubicBezTo>
                <a:cubicBezTo>
                  <a:pt x="1034235" y="823580"/>
                  <a:pt x="976332" y="765677"/>
                  <a:pt x="976332" y="694250"/>
                </a:cubicBezTo>
                <a:lnTo>
                  <a:pt x="976332" y="439540"/>
                </a:lnTo>
                <a:lnTo>
                  <a:pt x="220780" y="1195091"/>
                </a:lnTo>
                <a:cubicBezTo>
                  <a:pt x="170274" y="1245598"/>
                  <a:pt x="88386" y="1245598"/>
                  <a:pt x="37880" y="1195091"/>
                </a:cubicBezTo>
                <a:cubicBezTo>
                  <a:pt x="-12627" y="1144585"/>
                  <a:pt x="-12627" y="1062698"/>
                  <a:pt x="37880" y="1012191"/>
                </a:cubicBezTo>
                <a:lnTo>
                  <a:pt x="788236" y="261835"/>
                </a:lnTo>
                <a:lnTo>
                  <a:pt x="543917" y="261835"/>
                </a:lnTo>
                <a:cubicBezTo>
                  <a:pt x="472490" y="261835"/>
                  <a:pt x="414587" y="203932"/>
                  <a:pt x="414587" y="132505"/>
                </a:cubicBezTo>
                <a:cubicBezTo>
                  <a:pt x="414587" y="96792"/>
                  <a:pt x="429063" y="64459"/>
                  <a:pt x="452467" y="41055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Arrow14 - 3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62AD8A90-5D94-2580-D33D-3D79F0C87D87}"/>
              </a:ext>
            </a:extLst>
          </p:cNvPr>
          <p:cNvSpPr>
            <a:spLocks noChangeAspect="1"/>
          </p:cNvSpPr>
          <p:nvPr/>
        </p:nvSpPr>
        <p:spPr>
          <a:xfrm>
            <a:off x="8863731" y="2203928"/>
            <a:ext cx="2385398" cy="2381494"/>
          </a:xfrm>
          <a:custGeom>
            <a:avLst/>
            <a:gdLst>
              <a:gd name="connsiteX0" fmla="*/ 452467 w 1234992"/>
              <a:gd name="connsiteY0" fmla="*/ 41055 h 1232971"/>
              <a:gd name="connsiteX1" fmla="*/ 543917 w 1234992"/>
              <a:gd name="connsiteY1" fmla="*/ 3175 h 1232971"/>
              <a:gd name="connsiteX2" fmla="*/ 1087323 w 1234992"/>
              <a:gd name="connsiteY2" fmla="*/ 3175 h 1232971"/>
              <a:gd name="connsiteX3" fmla="*/ 1103642 w 1234992"/>
              <a:gd name="connsiteY3" fmla="*/ 0 h 1232971"/>
              <a:gd name="connsiteX4" fmla="*/ 1195092 w 1234992"/>
              <a:gd name="connsiteY4" fmla="*/ 37879 h 1232971"/>
              <a:gd name="connsiteX5" fmla="*/ 1223502 w 1234992"/>
              <a:gd name="connsiteY5" fmla="*/ 80662 h 1232971"/>
              <a:gd name="connsiteX6" fmla="*/ 1224251 w 1234992"/>
              <a:gd name="connsiteY6" fmla="*/ 84512 h 1232971"/>
              <a:gd name="connsiteX7" fmla="*/ 1224829 w 1234992"/>
              <a:gd name="connsiteY7" fmla="*/ 85369 h 1232971"/>
              <a:gd name="connsiteX8" fmla="*/ 1234992 w 1234992"/>
              <a:gd name="connsiteY8" fmla="*/ 135710 h 1232971"/>
              <a:gd name="connsiteX9" fmla="*/ 1234992 w 1234992"/>
              <a:gd name="connsiteY9" fmla="*/ 694250 h 1232971"/>
              <a:gd name="connsiteX10" fmla="*/ 1105662 w 1234992"/>
              <a:gd name="connsiteY10" fmla="*/ 823580 h 1232971"/>
              <a:gd name="connsiteX11" fmla="*/ 976332 w 1234992"/>
              <a:gd name="connsiteY11" fmla="*/ 694250 h 1232971"/>
              <a:gd name="connsiteX12" fmla="*/ 976332 w 1234992"/>
              <a:gd name="connsiteY12" fmla="*/ 439540 h 1232971"/>
              <a:gd name="connsiteX13" fmla="*/ 220780 w 1234992"/>
              <a:gd name="connsiteY13" fmla="*/ 1195091 h 1232971"/>
              <a:gd name="connsiteX14" fmla="*/ 37880 w 1234992"/>
              <a:gd name="connsiteY14" fmla="*/ 1195091 h 1232971"/>
              <a:gd name="connsiteX15" fmla="*/ 37880 w 1234992"/>
              <a:gd name="connsiteY15" fmla="*/ 1012191 h 1232971"/>
              <a:gd name="connsiteX16" fmla="*/ 788236 w 1234992"/>
              <a:gd name="connsiteY16" fmla="*/ 261835 h 1232971"/>
              <a:gd name="connsiteX17" fmla="*/ 543917 w 1234992"/>
              <a:gd name="connsiteY17" fmla="*/ 261835 h 1232971"/>
              <a:gd name="connsiteX18" fmla="*/ 414587 w 1234992"/>
              <a:gd name="connsiteY18" fmla="*/ 132505 h 1232971"/>
              <a:gd name="connsiteX19" fmla="*/ 452467 w 1234992"/>
              <a:gd name="connsiteY19" fmla="*/ 41055 h 1232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34992" h="1232971">
                <a:moveTo>
                  <a:pt x="452467" y="41055"/>
                </a:moveTo>
                <a:cubicBezTo>
                  <a:pt x="475871" y="17651"/>
                  <a:pt x="508204" y="3175"/>
                  <a:pt x="543917" y="3175"/>
                </a:cubicBezTo>
                <a:lnTo>
                  <a:pt x="1087323" y="3175"/>
                </a:lnTo>
                <a:lnTo>
                  <a:pt x="1103642" y="0"/>
                </a:lnTo>
                <a:cubicBezTo>
                  <a:pt x="1136740" y="-1"/>
                  <a:pt x="1169839" y="12626"/>
                  <a:pt x="1195092" y="37879"/>
                </a:cubicBezTo>
                <a:cubicBezTo>
                  <a:pt x="1207719" y="50506"/>
                  <a:pt x="1217188" y="65094"/>
                  <a:pt x="1223502" y="80662"/>
                </a:cubicBezTo>
                <a:lnTo>
                  <a:pt x="1224251" y="84512"/>
                </a:lnTo>
                <a:lnTo>
                  <a:pt x="1224829" y="85369"/>
                </a:lnTo>
                <a:cubicBezTo>
                  <a:pt x="1231373" y="100842"/>
                  <a:pt x="1234992" y="117853"/>
                  <a:pt x="1234992" y="135710"/>
                </a:cubicBezTo>
                <a:lnTo>
                  <a:pt x="1234992" y="694250"/>
                </a:lnTo>
                <a:cubicBezTo>
                  <a:pt x="1234992" y="765677"/>
                  <a:pt x="1177089" y="823580"/>
                  <a:pt x="1105662" y="823580"/>
                </a:cubicBezTo>
                <a:cubicBezTo>
                  <a:pt x="1034235" y="823580"/>
                  <a:pt x="976332" y="765677"/>
                  <a:pt x="976332" y="694250"/>
                </a:cubicBezTo>
                <a:lnTo>
                  <a:pt x="976332" y="439540"/>
                </a:lnTo>
                <a:lnTo>
                  <a:pt x="220780" y="1195091"/>
                </a:lnTo>
                <a:cubicBezTo>
                  <a:pt x="170274" y="1245598"/>
                  <a:pt x="88386" y="1245598"/>
                  <a:pt x="37880" y="1195091"/>
                </a:cubicBezTo>
                <a:cubicBezTo>
                  <a:pt x="-12627" y="1144585"/>
                  <a:pt x="-12627" y="1062698"/>
                  <a:pt x="37880" y="1012191"/>
                </a:cubicBezTo>
                <a:lnTo>
                  <a:pt x="788236" y="261835"/>
                </a:lnTo>
                <a:lnTo>
                  <a:pt x="543917" y="261835"/>
                </a:lnTo>
                <a:cubicBezTo>
                  <a:pt x="472490" y="261835"/>
                  <a:pt x="414587" y="203932"/>
                  <a:pt x="414587" y="132505"/>
                </a:cubicBezTo>
                <a:cubicBezTo>
                  <a:pt x="414587" y="96792"/>
                  <a:pt x="429063" y="64459"/>
                  <a:pt x="452467" y="41055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71486BE-A84E-47EE-C44B-62FBE0372093}"/>
              </a:ext>
            </a:extLst>
          </p:cNvPr>
          <p:cNvSpPr txBox="1"/>
          <p:nvPr/>
        </p:nvSpPr>
        <p:spPr>
          <a:xfrm>
            <a:off x="807776" y="4691882"/>
            <a:ext cx="2664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en-US" sz="1600" dirty="0"/>
              <a:t>Test addressed Letter items sent using advertising mail.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304B92E-2817-3233-EA2E-BF3FA17B8182}"/>
              </a:ext>
            </a:extLst>
          </p:cNvPr>
          <p:cNvSpPr txBox="1"/>
          <p:nvPr/>
        </p:nvSpPr>
        <p:spPr>
          <a:xfrm>
            <a:off x="3445259" y="4691882"/>
            <a:ext cx="26640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en-GB" sz="1600" dirty="0"/>
              <a:t>Measure the performance of the test and share the results with us so we can understand whether the tests we invest in achieve their objectives.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3644C48-1387-6445-357E-A01212608107}"/>
              </a:ext>
            </a:extLst>
          </p:cNvPr>
          <p:cNvSpPr txBox="1"/>
          <p:nvPr/>
        </p:nvSpPr>
        <p:spPr>
          <a:xfrm>
            <a:off x="6082742" y="4691882"/>
            <a:ext cx="26640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n-GB" sz="1600" dirty="0"/>
              <a:t>The minimum volume is 50k. The maximum volume is 1m items.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D4B4045-3270-C608-512F-50A4E816320C}"/>
              </a:ext>
            </a:extLst>
          </p:cNvPr>
          <p:cNvSpPr txBox="1"/>
          <p:nvPr/>
        </p:nvSpPr>
        <p:spPr>
          <a:xfrm>
            <a:off x="8720224" y="4691882"/>
            <a:ext cx="26640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en-GB" sz="1600" dirty="0"/>
              <a:t>Submit your application form 10 days before the start date of your test.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1D75804-09E5-0C27-5D9B-0FF39C51A5CF}"/>
              </a:ext>
            </a:extLst>
          </p:cNvPr>
          <p:cNvSpPr txBox="1"/>
          <p:nvPr/>
        </p:nvSpPr>
        <p:spPr>
          <a:xfrm>
            <a:off x="2400273" y="2266122"/>
            <a:ext cx="34015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4B51F63-BD72-7461-CC14-82D2AB6D80D9}"/>
              </a:ext>
            </a:extLst>
          </p:cNvPr>
          <p:cNvSpPr txBox="1"/>
          <p:nvPr/>
        </p:nvSpPr>
        <p:spPr>
          <a:xfrm>
            <a:off x="5035246" y="2266122"/>
            <a:ext cx="34015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86BA74A-1867-B9A2-A2DE-F98AC5CA420C}"/>
              </a:ext>
            </a:extLst>
          </p:cNvPr>
          <p:cNvSpPr txBox="1"/>
          <p:nvPr/>
        </p:nvSpPr>
        <p:spPr>
          <a:xfrm>
            <a:off x="7670219" y="2266122"/>
            <a:ext cx="34015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3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51121CA-C790-3B83-9E78-80E454DF5961}"/>
              </a:ext>
            </a:extLst>
          </p:cNvPr>
          <p:cNvSpPr txBox="1"/>
          <p:nvPr/>
        </p:nvSpPr>
        <p:spPr>
          <a:xfrm>
            <a:off x="10305193" y="2266122"/>
            <a:ext cx="34015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4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FD83C5F-86F8-8309-E4EC-AAB0D6FD8B4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2113368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1BB2BF-1035-C8CF-F7F7-BD54F1043C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Offer dat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BA5A09F-D4F1-1EE8-450D-495FAA9D31F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F5A811-CEC6-FC03-7DB5-05E868C1096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6</a:t>
            </a:fld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8515413-4151-0F86-3475-F8FF74922F2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766D231-43C2-2239-E4BC-BC7F0903DAA6}"/>
              </a:ext>
            </a:extLst>
          </p:cNvPr>
          <p:cNvSpPr txBox="1"/>
          <p:nvPr/>
        </p:nvSpPr>
        <p:spPr>
          <a:xfrm>
            <a:off x="4241726" y="3448855"/>
            <a:ext cx="151945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b="1" dirty="0"/>
              <a:t>01 September</a:t>
            </a:r>
          </a:p>
          <a:p>
            <a:pPr algn="ctr"/>
            <a:r>
              <a:rPr lang="en-GB" b="1" dirty="0"/>
              <a:t>2025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2764151-B4F9-FCC4-D66F-4019BA47CB61}"/>
              </a:ext>
            </a:extLst>
          </p:cNvPr>
          <p:cNvSpPr txBox="1"/>
          <p:nvPr/>
        </p:nvSpPr>
        <p:spPr>
          <a:xfrm>
            <a:off x="4100853" y="4437606"/>
            <a:ext cx="18011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dirty="0"/>
              <a:t>First posting dat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8755B24-F4F0-702F-F31C-D2F02B79AE4D}"/>
              </a:ext>
            </a:extLst>
          </p:cNvPr>
          <p:cNvSpPr txBox="1"/>
          <p:nvPr/>
        </p:nvSpPr>
        <p:spPr>
          <a:xfrm>
            <a:off x="6469917" y="3448855"/>
            <a:ext cx="147707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b="1" dirty="0"/>
              <a:t>14 November</a:t>
            </a:r>
          </a:p>
          <a:p>
            <a:pPr algn="ctr"/>
            <a:r>
              <a:rPr lang="en-GB" b="1" dirty="0"/>
              <a:t>2025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586B7CB-129E-E77B-5DAF-75686DD9DE0C}"/>
              </a:ext>
            </a:extLst>
          </p:cNvPr>
          <p:cNvSpPr txBox="1"/>
          <p:nvPr/>
        </p:nvSpPr>
        <p:spPr>
          <a:xfrm>
            <a:off x="6384445" y="4437076"/>
            <a:ext cx="16480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dirty="0"/>
              <a:t>Last application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6601EB1D-7F5A-5214-A03F-56766F99F3D7}"/>
              </a:ext>
            </a:extLst>
          </p:cNvPr>
          <p:cNvGrpSpPr/>
          <p:nvPr/>
        </p:nvGrpSpPr>
        <p:grpSpPr>
          <a:xfrm>
            <a:off x="4177445" y="2524820"/>
            <a:ext cx="1648014" cy="1808359"/>
            <a:chOff x="6761932" y="1222043"/>
            <a:chExt cx="1648014" cy="1808359"/>
          </a:xfrm>
        </p:grpSpPr>
        <p:sp>
          <p:nvSpPr>
            <p:cNvPr id="12" name="Free-form: Shape 297">
              <a:extLst>
                <a:ext uri="{FF2B5EF4-FFF2-40B4-BE49-F238E27FC236}">
                  <a16:creationId xmlns:a16="http://schemas.microsoft.com/office/drawing/2014/main" id="{51DB452B-FC7F-D167-7608-24533ADAAE35}"/>
                </a:ext>
              </a:extLst>
            </p:cNvPr>
            <p:cNvSpPr/>
            <p:nvPr/>
          </p:nvSpPr>
          <p:spPr>
            <a:xfrm>
              <a:off x="6761932" y="1222043"/>
              <a:ext cx="1648014" cy="695907"/>
            </a:xfrm>
            <a:custGeom>
              <a:avLst/>
              <a:gdLst>
                <a:gd name="connsiteX0" fmla="*/ 378428 w 1762125"/>
                <a:gd name="connsiteY0" fmla="*/ 0 h 744093"/>
                <a:gd name="connsiteX1" fmla="*/ 485394 w 1762125"/>
                <a:gd name="connsiteY1" fmla="*/ 86678 h 744093"/>
                <a:gd name="connsiteX2" fmla="*/ 491300 w 1762125"/>
                <a:gd name="connsiteY2" fmla="*/ 146876 h 744093"/>
                <a:gd name="connsiteX3" fmla="*/ 491300 w 1762125"/>
                <a:gd name="connsiteY3" fmla="*/ 207169 h 744093"/>
                <a:gd name="connsiteX4" fmla="*/ 497015 w 1762125"/>
                <a:gd name="connsiteY4" fmla="*/ 212789 h 744093"/>
                <a:gd name="connsiteX5" fmla="*/ 1308735 w 1762125"/>
                <a:gd name="connsiteY5" fmla="*/ 212789 h 744093"/>
                <a:gd name="connsiteX6" fmla="*/ 1313498 w 1762125"/>
                <a:gd name="connsiteY6" fmla="*/ 208312 h 744093"/>
                <a:gd name="connsiteX7" fmla="*/ 1318451 w 1762125"/>
                <a:gd name="connsiteY7" fmla="*/ 91154 h 744093"/>
                <a:gd name="connsiteX8" fmla="*/ 1426083 w 1762125"/>
                <a:gd name="connsiteY8" fmla="*/ 0 h 744093"/>
                <a:gd name="connsiteX9" fmla="*/ 1437323 w 1762125"/>
                <a:gd name="connsiteY9" fmla="*/ 0 h 744093"/>
                <a:gd name="connsiteX10" fmla="*/ 1543145 w 1762125"/>
                <a:gd name="connsiteY10" fmla="*/ 87344 h 744093"/>
                <a:gd name="connsiteX11" fmla="*/ 1548670 w 1762125"/>
                <a:gd name="connsiteY11" fmla="*/ 206693 h 744093"/>
                <a:gd name="connsiteX12" fmla="*/ 1553432 w 1762125"/>
                <a:gd name="connsiteY12" fmla="*/ 212312 h 744093"/>
                <a:gd name="connsiteX13" fmla="*/ 1579817 w 1762125"/>
                <a:gd name="connsiteY13" fmla="*/ 214979 h 744093"/>
                <a:gd name="connsiteX14" fmla="*/ 1610487 w 1762125"/>
                <a:gd name="connsiteY14" fmla="*/ 220028 h 744093"/>
                <a:gd name="connsiteX15" fmla="*/ 1762125 w 1762125"/>
                <a:gd name="connsiteY15" fmla="*/ 401193 h 744093"/>
                <a:gd name="connsiteX16" fmla="*/ 1762125 w 1762125"/>
                <a:gd name="connsiteY16" fmla="*/ 715804 h 744093"/>
                <a:gd name="connsiteX17" fmla="*/ 1724025 w 1762125"/>
                <a:gd name="connsiteY17" fmla="*/ 743522 h 744093"/>
                <a:gd name="connsiteX18" fmla="*/ 100013 w 1762125"/>
                <a:gd name="connsiteY18" fmla="*/ 744093 h 744093"/>
                <a:gd name="connsiteX19" fmla="*/ 31623 w 1762125"/>
                <a:gd name="connsiteY19" fmla="*/ 741902 h 744093"/>
                <a:gd name="connsiteX20" fmla="*/ 0 w 1762125"/>
                <a:gd name="connsiteY20" fmla="*/ 709898 h 744093"/>
                <a:gd name="connsiteX21" fmla="*/ 0 w 1762125"/>
                <a:gd name="connsiteY21" fmla="*/ 400907 h 744093"/>
                <a:gd name="connsiteX22" fmla="*/ 186119 w 1762125"/>
                <a:gd name="connsiteY22" fmla="*/ 214027 h 744093"/>
                <a:gd name="connsiteX23" fmla="*/ 219932 w 1762125"/>
                <a:gd name="connsiteY23" fmla="*/ 212884 h 744093"/>
                <a:gd name="connsiteX24" fmla="*/ 248888 w 1762125"/>
                <a:gd name="connsiteY24" fmla="*/ 212789 h 744093"/>
                <a:gd name="connsiteX25" fmla="*/ 254127 w 1762125"/>
                <a:gd name="connsiteY25" fmla="*/ 207359 h 744093"/>
                <a:gd name="connsiteX26" fmla="*/ 260604 w 1762125"/>
                <a:gd name="connsiteY26" fmla="*/ 83820 h 744093"/>
                <a:gd name="connsiteX27" fmla="*/ 364617 w 1762125"/>
                <a:gd name="connsiteY27" fmla="*/ 0 h 744093"/>
                <a:gd name="connsiteX28" fmla="*/ 378428 w 1762125"/>
                <a:gd name="connsiteY28" fmla="*/ 0 h 744093"/>
                <a:gd name="connsiteX29" fmla="*/ 431292 w 1762125"/>
                <a:gd name="connsiteY29" fmla="*/ 266700 h 744093"/>
                <a:gd name="connsiteX30" fmla="*/ 424815 w 1762125"/>
                <a:gd name="connsiteY30" fmla="*/ 250698 h 744093"/>
                <a:gd name="connsiteX31" fmla="*/ 424625 w 1762125"/>
                <a:gd name="connsiteY31" fmla="*/ 136398 h 744093"/>
                <a:gd name="connsiteX32" fmla="*/ 417957 w 1762125"/>
                <a:gd name="connsiteY32" fmla="*/ 95250 h 744093"/>
                <a:gd name="connsiteX33" fmla="*/ 327470 w 1762125"/>
                <a:gd name="connsiteY33" fmla="*/ 94774 h 744093"/>
                <a:gd name="connsiteX34" fmla="*/ 320707 w 1762125"/>
                <a:gd name="connsiteY34" fmla="*/ 144685 h 744093"/>
                <a:gd name="connsiteX35" fmla="*/ 320516 w 1762125"/>
                <a:gd name="connsiteY35" fmla="*/ 247555 h 744093"/>
                <a:gd name="connsiteX36" fmla="*/ 288703 w 1762125"/>
                <a:gd name="connsiteY36" fmla="*/ 279273 h 744093"/>
                <a:gd name="connsiteX37" fmla="*/ 162020 w 1762125"/>
                <a:gd name="connsiteY37" fmla="*/ 286607 h 744093"/>
                <a:gd name="connsiteX38" fmla="*/ 76010 w 1762125"/>
                <a:gd name="connsiteY38" fmla="*/ 365950 h 744093"/>
                <a:gd name="connsiteX39" fmla="*/ 66389 w 1762125"/>
                <a:gd name="connsiteY39" fmla="*/ 473583 h 744093"/>
                <a:gd name="connsiteX40" fmla="*/ 67342 w 1762125"/>
                <a:gd name="connsiteY40" fmla="*/ 671798 h 744093"/>
                <a:gd name="connsiteX41" fmla="*/ 71914 w 1762125"/>
                <a:gd name="connsiteY41" fmla="*/ 676275 h 744093"/>
                <a:gd name="connsiteX42" fmla="*/ 1690307 w 1762125"/>
                <a:gd name="connsiteY42" fmla="*/ 676275 h 744093"/>
                <a:gd name="connsiteX43" fmla="*/ 1694879 w 1762125"/>
                <a:gd name="connsiteY43" fmla="*/ 671798 h 744093"/>
                <a:gd name="connsiteX44" fmla="*/ 1695736 w 1762125"/>
                <a:gd name="connsiteY44" fmla="*/ 468630 h 744093"/>
                <a:gd name="connsiteX45" fmla="*/ 1686497 w 1762125"/>
                <a:gd name="connsiteY45" fmla="*/ 367094 h 744093"/>
                <a:gd name="connsiteX46" fmla="*/ 1561338 w 1762125"/>
                <a:gd name="connsiteY46" fmla="*/ 279845 h 744093"/>
                <a:gd name="connsiteX47" fmla="*/ 1514666 w 1762125"/>
                <a:gd name="connsiteY47" fmla="*/ 279178 h 744093"/>
                <a:gd name="connsiteX48" fmla="*/ 1482376 w 1762125"/>
                <a:gd name="connsiteY48" fmla="*/ 247364 h 744093"/>
                <a:gd name="connsiteX49" fmla="*/ 1481900 w 1762125"/>
                <a:gd name="connsiteY49" fmla="*/ 126873 h 744093"/>
                <a:gd name="connsiteX50" fmla="*/ 1456849 w 1762125"/>
                <a:gd name="connsiteY50" fmla="*/ 74867 h 744093"/>
                <a:gd name="connsiteX51" fmla="*/ 1387221 w 1762125"/>
                <a:gd name="connsiteY51" fmla="*/ 96965 h 744093"/>
                <a:gd name="connsiteX52" fmla="*/ 1380839 w 1762125"/>
                <a:gd name="connsiteY52" fmla="*/ 133445 h 744093"/>
                <a:gd name="connsiteX53" fmla="*/ 1380554 w 1762125"/>
                <a:gd name="connsiteY53" fmla="*/ 245936 h 744093"/>
                <a:gd name="connsiteX54" fmla="*/ 1347216 w 1762125"/>
                <a:gd name="connsiteY54" fmla="*/ 279463 h 744093"/>
                <a:gd name="connsiteX55" fmla="*/ 1347121 w 1762125"/>
                <a:gd name="connsiteY55" fmla="*/ 279463 h 744093"/>
                <a:gd name="connsiteX56" fmla="*/ 459676 w 1762125"/>
                <a:gd name="connsiteY56" fmla="*/ 279083 h 744093"/>
                <a:gd name="connsiteX57" fmla="*/ 431292 w 1762125"/>
                <a:gd name="connsiteY57" fmla="*/ 266700 h 7440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1762125" h="744093">
                  <a:moveTo>
                    <a:pt x="378428" y="0"/>
                  </a:moveTo>
                  <a:cubicBezTo>
                    <a:pt x="434816" y="9017"/>
                    <a:pt x="470472" y="37910"/>
                    <a:pt x="485394" y="86678"/>
                  </a:cubicBezTo>
                  <a:cubicBezTo>
                    <a:pt x="490030" y="101854"/>
                    <a:pt x="491998" y="121920"/>
                    <a:pt x="491300" y="146876"/>
                  </a:cubicBezTo>
                  <a:cubicBezTo>
                    <a:pt x="490855" y="165926"/>
                    <a:pt x="490855" y="186023"/>
                    <a:pt x="491300" y="207169"/>
                  </a:cubicBezTo>
                  <a:cubicBezTo>
                    <a:pt x="491363" y="210915"/>
                    <a:pt x="493268" y="212789"/>
                    <a:pt x="497015" y="212789"/>
                  </a:cubicBezTo>
                  <a:lnTo>
                    <a:pt x="1308735" y="212789"/>
                  </a:lnTo>
                  <a:cubicBezTo>
                    <a:pt x="1311783" y="212789"/>
                    <a:pt x="1313371" y="211296"/>
                    <a:pt x="1313498" y="208312"/>
                  </a:cubicBezTo>
                  <a:cubicBezTo>
                    <a:pt x="1315403" y="170879"/>
                    <a:pt x="1309497" y="124682"/>
                    <a:pt x="1318451" y="91154"/>
                  </a:cubicBezTo>
                  <a:cubicBezTo>
                    <a:pt x="1331976" y="40037"/>
                    <a:pt x="1367854" y="9652"/>
                    <a:pt x="1426083" y="0"/>
                  </a:cubicBezTo>
                  <a:lnTo>
                    <a:pt x="1437323" y="0"/>
                  </a:lnTo>
                  <a:cubicBezTo>
                    <a:pt x="1493330" y="9271"/>
                    <a:pt x="1528604" y="38386"/>
                    <a:pt x="1543145" y="87344"/>
                  </a:cubicBezTo>
                  <a:cubicBezTo>
                    <a:pt x="1552956" y="120301"/>
                    <a:pt x="1548384" y="171450"/>
                    <a:pt x="1548670" y="206693"/>
                  </a:cubicBezTo>
                  <a:cubicBezTo>
                    <a:pt x="1548733" y="209868"/>
                    <a:pt x="1550321" y="211741"/>
                    <a:pt x="1553432" y="212312"/>
                  </a:cubicBezTo>
                  <a:cubicBezTo>
                    <a:pt x="1557814" y="213074"/>
                    <a:pt x="1566609" y="213963"/>
                    <a:pt x="1579817" y="214979"/>
                  </a:cubicBezTo>
                  <a:cubicBezTo>
                    <a:pt x="1592580" y="215995"/>
                    <a:pt x="1602804" y="217678"/>
                    <a:pt x="1610487" y="220028"/>
                  </a:cubicBezTo>
                  <a:cubicBezTo>
                    <a:pt x="1698879" y="246761"/>
                    <a:pt x="1749425" y="307150"/>
                    <a:pt x="1762125" y="401193"/>
                  </a:cubicBezTo>
                  <a:lnTo>
                    <a:pt x="1762125" y="715804"/>
                  </a:lnTo>
                  <a:cubicBezTo>
                    <a:pt x="1756220" y="734282"/>
                    <a:pt x="1743520" y="743522"/>
                    <a:pt x="1724025" y="743522"/>
                  </a:cubicBezTo>
                  <a:cubicBezTo>
                    <a:pt x="1182688" y="743077"/>
                    <a:pt x="641350" y="743268"/>
                    <a:pt x="100013" y="744093"/>
                  </a:cubicBezTo>
                  <a:cubicBezTo>
                    <a:pt x="77343" y="744093"/>
                    <a:pt x="54546" y="743363"/>
                    <a:pt x="31623" y="741902"/>
                  </a:cubicBezTo>
                  <a:cubicBezTo>
                    <a:pt x="12319" y="740632"/>
                    <a:pt x="1778" y="729964"/>
                    <a:pt x="0" y="709898"/>
                  </a:cubicBezTo>
                  <a:lnTo>
                    <a:pt x="0" y="400907"/>
                  </a:lnTo>
                  <a:cubicBezTo>
                    <a:pt x="17018" y="291497"/>
                    <a:pt x="79058" y="229203"/>
                    <a:pt x="186119" y="214027"/>
                  </a:cubicBezTo>
                  <a:cubicBezTo>
                    <a:pt x="192723" y="213074"/>
                    <a:pt x="203994" y="212693"/>
                    <a:pt x="219932" y="212884"/>
                  </a:cubicBezTo>
                  <a:cubicBezTo>
                    <a:pt x="229775" y="213011"/>
                    <a:pt x="239427" y="212979"/>
                    <a:pt x="248888" y="212789"/>
                  </a:cubicBezTo>
                  <a:cubicBezTo>
                    <a:pt x="252381" y="212725"/>
                    <a:pt x="254127" y="210915"/>
                    <a:pt x="254127" y="207359"/>
                  </a:cubicBezTo>
                  <a:cubicBezTo>
                    <a:pt x="254508" y="170783"/>
                    <a:pt x="249269" y="118872"/>
                    <a:pt x="260604" y="83820"/>
                  </a:cubicBezTo>
                  <a:cubicBezTo>
                    <a:pt x="275781" y="37148"/>
                    <a:pt x="310452" y="9208"/>
                    <a:pt x="364617" y="0"/>
                  </a:cubicBezTo>
                  <a:lnTo>
                    <a:pt x="378428" y="0"/>
                  </a:lnTo>
                  <a:close/>
                  <a:moveTo>
                    <a:pt x="431292" y="266700"/>
                  </a:moveTo>
                  <a:cubicBezTo>
                    <a:pt x="427038" y="258699"/>
                    <a:pt x="424879" y="253365"/>
                    <a:pt x="424815" y="250698"/>
                  </a:cubicBezTo>
                  <a:cubicBezTo>
                    <a:pt x="424498" y="201295"/>
                    <a:pt x="424434" y="163195"/>
                    <a:pt x="424625" y="136398"/>
                  </a:cubicBezTo>
                  <a:cubicBezTo>
                    <a:pt x="424752" y="117031"/>
                    <a:pt x="422529" y="103315"/>
                    <a:pt x="417957" y="95250"/>
                  </a:cubicBezTo>
                  <a:cubicBezTo>
                    <a:pt x="397288" y="58960"/>
                    <a:pt x="346805" y="57531"/>
                    <a:pt x="327470" y="94774"/>
                  </a:cubicBezTo>
                  <a:cubicBezTo>
                    <a:pt x="322771" y="103854"/>
                    <a:pt x="320516" y="120491"/>
                    <a:pt x="320707" y="144685"/>
                  </a:cubicBezTo>
                  <a:cubicBezTo>
                    <a:pt x="320961" y="177133"/>
                    <a:pt x="320897" y="211423"/>
                    <a:pt x="320516" y="247555"/>
                  </a:cubicBezTo>
                  <a:cubicBezTo>
                    <a:pt x="320310" y="265023"/>
                    <a:pt x="306172" y="279119"/>
                    <a:pt x="288703" y="279273"/>
                  </a:cubicBezTo>
                  <a:cubicBezTo>
                    <a:pt x="246221" y="279749"/>
                    <a:pt x="196406" y="274511"/>
                    <a:pt x="162020" y="286607"/>
                  </a:cubicBezTo>
                  <a:cubicBezTo>
                    <a:pt x="119539" y="301466"/>
                    <a:pt x="90869" y="327914"/>
                    <a:pt x="76010" y="365950"/>
                  </a:cubicBezTo>
                  <a:cubicBezTo>
                    <a:pt x="69406" y="382715"/>
                    <a:pt x="66199" y="418592"/>
                    <a:pt x="66389" y="473583"/>
                  </a:cubicBezTo>
                  <a:cubicBezTo>
                    <a:pt x="66580" y="547942"/>
                    <a:pt x="66897" y="614013"/>
                    <a:pt x="67342" y="671798"/>
                  </a:cubicBezTo>
                  <a:cubicBezTo>
                    <a:pt x="67405" y="674783"/>
                    <a:pt x="68929" y="676275"/>
                    <a:pt x="71914" y="676275"/>
                  </a:cubicBezTo>
                  <a:lnTo>
                    <a:pt x="1690307" y="676275"/>
                  </a:lnTo>
                  <a:cubicBezTo>
                    <a:pt x="1693291" y="676275"/>
                    <a:pt x="1694815" y="674783"/>
                    <a:pt x="1694879" y="671798"/>
                  </a:cubicBezTo>
                  <a:cubicBezTo>
                    <a:pt x="1695387" y="629634"/>
                    <a:pt x="1695672" y="561912"/>
                    <a:pt x="1695736" y="468630"/>
                  </a:cubicBezTo>
                  <a:cubicBezTo>
                    <a:pt x="1695736" y="417513"/>
                    <a:pt x="1692656" y="383667"/>
                    <a:pt x="1686497" y="367094"/>
                  </a:cubicBezTo>
                  <a:cubicBezTo>
                    <a:pt x="1667351" y="315659"/>
                    <a:pt x="1617440" y="282416"/>
                    <a:pt x="1561338" y="279845"/>
                  </a:cubicBezTo>
                  <a:cubicBezTo>
                    <a:pt x="1551432" y="279400"/>
                    <a:pt x="1535875" y="279178"/>
                    <a:pt x="1514666" y="279178"/>
                  </a:cubicBezTo>
                  <a:cubicBezTo>
                    <a:pt x="1497017" y="279180"/>
                    <a:pt x="1482636" y="265011"/>
                    <a:pt x="1482376" y="247364"/>
                  </a:cubicBezTo>
                  <a:cubicBezTo>
                    <a:pt x="1482058" y="226536"/>
                    <a:pt x="1481900" y="186373"/>
                    <a:pt x="1481900" y="126873"/>
                  </a:cubicBezTo>
                  <a:cubicBezTo>
                    <a:pt x="1481900" y="102775"/>
                    <a:pt x="1475042" y="86773"/>
                    <a:pt x="1456849" y="74867"/>
                  </a:cubicBezTo>
                  <a:cubicBezTo>
                    <a:pt x="1431703" y="58388"/>
                    <a:pt x="1400842" y="69533"/>
                    <a:pt x="1387221" y="96965"/>
                  </a:cubicBezTo>
                  <a:cubicBezTo>
                    <a:pt x="1383221" y="105029"/>
                    <a:pt x="1381093" y="117189"/>
                    <a:pt x="1380839" y="133445"/>
                  </a:cubicBezTo>
                  <a:cubicBezTo>
                    <a:pt x="1380458" y="158655"/>
                    <a:pt x="1380363" y="196152"/>
                    <a:pt x="1380554" y="245936"/>
                  </a:cubicBezTo>
                  <a:cubicBezTo>
                    <a:pt x="1380606" y="264400"/>
                    <a:pt x="1365681" y="279411"/>
                    <a:pt x="1347216" y="279463"/>
                  </a:cubicBezTo>
                  <a:cubicBezTo>
                    <a:pt x="1347184" y="279463"/>
                    <a:pt x="1347153" y="279463"/>
                    <a:pt x="1347121" y="279463"/>
                  </a:cubicBezTo>
                  <a:cubicBezTo>
                    <a:pt x="995902" y="279591"/>
                    <a:pt x="700088" y="279464"/>
                    <a:pt x="459676" y="279083"/>
                  </a:cubicBezTo>
                  <a:cubicBezTo>
                    <a:pt x="445198" y="279019"/>
                    <a:pt x="435737" y="274892"/>
                    <a:pt x="431292" y="26670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" name="Free-form: Shape 298">
              <a:extLst>
                <a:ext uri="{FF2B5EF4-FFF2-40B4-BE49-F238E27FC236}">
                  <a16:creationId xmlns:a16="http://schemas.microsoft.com/office/drawing/2014/main" id="{E0ADBA32-DD59-4BD8-6604-D46A131C6833}"/>
                </a:ext>
              </a:extLst>
            </p:cNvPr>
            <p:cNvSpPr/>
            <p:nvPr/>
          </p:nvSpPr>
          <p:spPr>
            <a:xfrm>
              <a:off x="6761932" y="1934805"/>
              <a:ext cx="1648014" cy="1095597"/>
            </a:xfrm>
            <a:custGeom>
              <a:avLst/>
              <a:gdLst>
                <a:gd name="connsiteX0" fmla="*/ 1762125 w 1762125"/>
                <a:gd name="connsiteY0" fmla="*/ 27030 h 1171458"/>
                <a:gd name="connsiteX1" fmla="*/ 1762125 w 1762125"/>
                <a:gd name="connsiteY1" fmla="*/ 979816 h 1171458"/>
                <a:gd name="connsiteX2" fmla="*/ 1570577 w 1762125"/>
                <a:gd name="connsiteY2" fmla="*/ 1171459 h 1171458"/>
                <a:gd name="connsiteX3" fmla="*/ 192405 w 1762125"/>
                <a:gd name="connsiteY3" fmla="*/ 1171459 h 1171458"/>
                <a:gd name="connsiteX4" fmla="*/ 0 w 1762125"/>
                <a:gd name="connsiteY4" fmla="*/ 979720 h 1171458"/>
                <a:gd name="connsiteX5" fmla="*/ 0 w 1762125"/>
                <a:gd name="connsiteY5" fmla="*/ 34936 h 1171458"/>
                <a:gd name="connsiteX6" fmla="*/ 40481 w 1762125"/>
                <a:gd name="connsiteY6" fmla="*/ 169 h 1171458"/>
                <a:gd name="connsiteX7" fmla="*/ 1724025 w 1762125"/>
                <a:gd name="connsiteY7" fmla="*/ 265 h 1171458"/>
                <a:gd name="connsiteX8" fmla="*/ 1762125 w 1762125"/>
                <a:gd name="connsiteY8" fmla="*/ 27030 h 1171458"/>
                <a:gd name="connsiteX9" fmla="*/ 881158 w 1762125"/>
                <a:gd name="connsiteY9" fmla="*/ 1104784 h 1171458"/>
                <a:gd name="connsiteX10" fmla="*/ 1547717 w 1762125"/>
                <a:gd name="connsiteY10" fmla="*/ 1104403 h 1171458"/>
                <a:gd name="connsiteX11" fmla="*/ 1681543 w 1762125"/>
                <a:gd name="connsiteY11" fmla="*/ 1025155 h 1171458"/>
                <a:gd name="connsiteX12" fmla="*/ 1695641 w 1762125"/>
                <a:gd name="connsiteY12" fmla="*/ 920189 h 1171458"/>
                <a:gd name="connsiteX13" fmla="*/ 1695545 w 1762125"/>
                <a:gd name="connsiteY13" fmla="*/ 69702 h 1171458"/>
                <a:gd name="connsiteX14" fmla="*/ 1692402 w 1762125"/>
                <a:gd name="connsiteY14" fmla="*/ 66654 h 1171458"/>
                <a:gd name="connsiteX15" fmla="*/ 881063 w 1762125"/>
                <a:gd name="connsiteY15" fmla="*/ 66559 h 1171458"/>
                <a:gd name="connsiteX16" fmla="*/ 69628 w 1762125"/>
                <a:gd name="connsiteY16" fmla="*/ 66844 h 1171458"/>
                <a:gd name="connsiteX17" fmla="*/ 66580 w 1762125"/>
                <a:gd name="connsiteY17" fmla="*/ 69892 h 1171458"/>
                <a:gd name="connsiteX18" fmla="*/ 66675 w 1762125"/>
                <a:gd name="connsiteY18" fmla="*/ 920380 h 1171458"/>
                <a:gd name="connsiteX19" fmla="*/ 80772 w 1762125"/>
                <a:gd name="connsiteY19" fmla="*/ 1025345 h 1171458"/>
                <a:gd name="connsiteX20" fmla="*/ 214598 w 1762125"/>
                <a:gd name="connsiteY20" fmla="*/ 1104593 h 1171458"/>
                <a:gd name="connsiteX21" fmla="*/ 881158 w 1762125"/>
                <a:gd name="connsiteY21" fmla="*/ 1104784 h 1171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762125" h="1171458">
                  <a:moveTo>
                    <a:pt x="1762125" y="27030"/>
                  </a:moveTo>
                  <a:lnTo>
                    <a:pt x="1762125" y="979816"/>
                  </a:lnTo>
                  <a:cubicBezTo>
                    <a:pt x="1746250" y="1091766"/>
                    <a:pt x="1682401" y="1155647"/>
                    <a:pt x="1570577" y="1171459"/>
                  </a:cubicBezTo>
                  <a:lnTo>
                    <a:pt x="192405" y="1171459"/>
                  </a:lnTo>
                  <a:cubicBezTo>
                    <a:pt x="80074" y="1156092"/>
                    <a:pt x="15939" y="1092179"/>
                    <a:pt x="0" y="979720"/>
                  </a:cubicBezTo>
                  <a:lnTo>
                    <a:pt x="0" y="34936"/>
                  </a:lnTo>
                  <a:cubicBezTo>
                    <a:pt x="1207" y="11758"/>
                    <a:pt x="14700" y="169"/>
                    <a:pt x="40481" y="169"/>
                  </a:cubicBezTo>
                  <a:cubicBezTo>
                    <a:pt x="601694" y="-85"/>
                    <a:pt x="1162876" y="-53"/>
                    <a:pt x="1724025" y="265"/>
                  </a:cubicBezTo>
                  <a:cubicBezTo>
                    <a:pt x="1744282" y="265"/>
                    <a:pt x="1756982" y="9186"/>
                    <a:pt x="1762125" y="27030"/>
                  </a:cubicBezTo>
                  <a:close/>
                  <a:moveTo>
                    <a:pt x="881158" y="1104784"/>
                  </a:moveTo>
                  <a:cubicBezTo>
                    <a:pt x="1239933" y="1104720"/>
                    <a:pt x="1462119" y="1104593"/>
                    <a:pt x="1547717" y="1104403"/>
                  </a:cubicBezTo>
                  <a:cubicBezTo>
                    <a:pt x="1612995" y="1104276"/>
                    <a:pt x="1657604" y="1077860"/>
                    <a:pt x="1681543" y="1025155"/>
                  </a:cubicBezTo>
                  <a:cubicBezTo>
                    <a:pt x="1691132" y="1004136"/>
                    <a:pt x="1695831" y="969148"/>
                    <a:pt x="1695641" y="920189"/>
                  </a:cubicBezTo>
                  <a:cubicBezTo>
                    <a:pt x="1695577" y="886344"/>
                    <a:pt x="1695545" y="602848"/>
                    <a:pt x="1695545" y="69702"/>
                  </a:cubicBezTo>
                  <a:cubicBezTo>
                    <a:pt x="1695545" y="68019"/>
                    <a:pt x="1694138" y="66654"/>
                    <a:pt x="1692402" y="66654"/>
                  </a:cubicBezTo>
                  <a:cubicBezTo>
                    <a:pt x="1422083" y="66590"/>
                    <a:pt x="1151636" y="66559"/>
                    <a:pt x="881063" y="66559"/>
                  </a:cubicBezTo>
                  <a:cubicBezTo>
                    <a:pt x="610489" y="66559"/>
                    <a:pt x="340011" y="66654"/>
                    <a:pt x="69628" y="66844"/>
                  </a:cubicBezTo>
                  <a:cubicBezTo>
                    <a:pt x="67929" y="66895"/>
                    <a:pt x="66579" y="68245"/>
                    <a:pt x="66580" y="69892"/>
                  </a:cubicBezTo>
                  <a:cubicBezTo>
                    <a:pt x="66707" y="603038"/>
                    <a:pt x="66739" y="886534"/>
                    <a:pt x="66675" y="920380"/>
                  </a:cubicBezTo>
                  <a:cubicBezTo>
                    <a:pt x="66485" y="969338"/>
                    <a:pt x="71184" y="1004327"/>
                    <a:pt x="80772" y="1025345"/>
                  </a:cubicBezTo>
                  <a:cubicBezTo>
                    <a:pt x="104711" y="1078050"/>
                    <a:pt x="149320" y="1104466"/>
                    <a:pt x="214598" y="1104593"/>
                  </a:cubicBezTo>
                  <a:cubicBezTo>
                    <a:pt x="300196" y="1104784"/>
                    <a:pt x="522383" y="1104847"/>
                    <a:pt x="881158" y="1104784"/>
                  </a:cubicBezTo>
                  <a:close/>
                </a:path>
              </a:pathLst>
            </a:custGeom>
            <a:solidFill>
              <a:schemeClr val="tx2"/>
            </a:solidFill>
            <a:ln w="9525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C73B693E-3C1A-C9C1-051B-96E99302FB4A}"/>
              </a:ext>
            </a:extLst>
          </p:cNvPr>
          <p:cNvGrpSpPr/>
          <p:nvPr/>
        </p:nvGrpSpPr>
        <p:grpSpPr>
          <a:xfrm>
            <a:off x="6384445" y="2524820"/>
            <a:ext cx="1648014" cy="1808359"/>
            <a:chOff x="6761932" y="1222043"/>
            <a:chExt cx="1648014" cy="1808359"/>
          </a:xfrm>
        </p:grpSpPr>
        <p:sp>
          <p:nvSpPr>
            <p:cNvPr id="15" name="Free-form: Shape 297">
              <a:extLst>
                <a:ext uri="{FF2B5EF4-FFF2-40B4-BE49-F238E27FC236}">
                  <a16:creationId xmlns:a16="http://schemas.microsoft.com/office/drawing/2014/main" id="{DBF82459-CBF9-7F55-394C-67A9780BF078}"/>
                </a:ext>
              </a:extLst>
            </p:cNvPr>
            <p:cNvSpPr/>
            <p:nvPr/>
          </p:nvSpPr>
          <p:spPr>
            <a:xfrm>
              <a:off x="6761932" y="1222043"/>
              <a:ext cx="1648014" cy="695907"/>
            </a:xfrm>
            <a:custGeom>
              <a:avLst/>
              <a:gdLst>
                <a:gd name="connsiteX0" fmla="*/ 378428 w 1762125"/>
                <a:gd name="connsiteY0" fmla="*/ 0 h 744093"/>
                <a:gd name="connsiteX1" fmla="*/ 485394 w 1762125"/>
                <a:gd name="connsiteY1" fmla="*/ 86678 h 744093"/>
                <a:gd name="connsiteX2" fmla="*/ 491300 w 1762125"/>
                <a:gd name="connsiteY2" fmla="*/ 146876 h 744093"/>
                <a:gd name="connsiteX3" fmla="*/ 491300 w 1762125"/>
                <a:gd name="connsiteY3" fmla="*/ 207169 h 744093"/>
                <a:gd name="connsiteX4" fmla="*/ 497015 w 1762125"/>
                <a:gd name="connsiteY4" fmla="*/ 212789 h 744093"/>
                <a:gd name="connsiteX5" fmla="*/ 1308735 w 1762125"/>
                <a:gd name="connsiteY5" fmla="*/ 212789 h 744093"/>
                <a:gd name="connsiteX6" fmla="*/ 1313498 w 1762125"/>
                <a:gd name="connsiteY6" fmla="*/ 208312 h 744093"/>
                <a:gd name="connsiteX7" fmla="*/ 1318451 w 1762125"/>
                <a:gd name="connsiteY7" fmla="*/ 91154 h 744093"/>
                <a:gd name="connsiteX8" fmla="*/ 1426083 w 1762125"/>
                <a:gd name="connsiteY8" fmla="*/ 0 h 744093"/>
                <a:gd name="connsiteX9" fmla="*/ 1437323 w 1762125"/>
                <a:gd name="connsiteY9" fmla="*/ 0 h 744093"/>
                <a:gd name="connsiteX10" fmla="*/ 1543145 w 1762125"/>
                <a:gd name="connsiteY10" fmla="*/ 87344 h 744093"/>
                <a:gd name="connsiteX11" fmla="*/ 1548670 w 1762125"/>
                <a:gd name="connsiteY11" fmla="*/ 206693 h 744093"/>
                <a:gd name="connsiteX12" fmla="*/ 1553432 w 1762125"/>
                <a:gd name="connsiteY12" fmla="*/ 212312 h 744093"/>
                <a:gd name="connsiteX13" fmla="*/ 1579817 w 1762125"/>
                <a:gd name="connsiteY13" fmla="*/ 214979 h 744093"/>
                <a:gd name="connsiteX14" fmla="*/ 1610487 w 1762125"/>
                <a:gd name="connsiteY14" fmla="*/ 220028 h 744093"/>
                <a:gd name="connsiteX15" fmla="*/ 1762125 w 1762125"/>
                <a:gd name="connsiteY15" fmla="*/ 401193 h 744093"/>
                <a:gd name="connsiteX16" fmla="*/ 1762125 w 1762125"/>
                <a:gd name="connsiteY16" fmla="*/ 715804 h 744093"/>
                <a:gd name="connsiteX17" fmla="*/ 1724025 w 1762125"/>
                <a:gd name="connsiteY17" fmla="*/ 743522 h 744093"/>
                <a:gd name="connsiteX18" fmla="*/ 100013 w 1762125"/>
                <a:gd name="connsiteY18" fmla="*/ 744093 h 744093"/>
                <a:gd name="connsiteX19" fmla="*/ 31623 w 1762125"/>
                <a:gd name="connsiteY19" fmla="*/ 741902 h 744093"/>
                <a:gd name="connsiteX20" fmla="*/ 0 w 1762125"/>
                <a:gd name="connsiteY20" fmla="*/ 709898 h 744093"/>
                <a:gd name="connsiteX21" fmla="*/ 0 w 1762125"/>
                <a:gd name="connsiteY21" fmla="*/ 400907 h 744093"/>
                <a:gd name="connsiteX22" fmla="*/ 186119 w 1762125"/>
                <a:gd name="connsiteY22" fmla="*/ 214027 h 744093"/>
                <a:gd name="connsiteX23" fmla="*/ 219932 w 1762125"/>
                <a:gd name="connsiteY23" fmla="*/ 212884 h 744093"/>
                <a:gd name="connsiteX24" fmla="*/ 248888 w 1762125"/>
                <a:gd name="connsiteY24" fmla="*/ 212789 h 744093"/>
                <a:gd name="connsiteX25" fmla="*/ 254127 w 1762125"/>
                <a:gd name="connsiteY25" fmla="*/ 207359 h 744093"/>
                <a:gd name="connsiteX26" fmla="*/ 260604 w 1762125"/>
                <a:gd name="connsiteY26" fmla="*/ 83820 h 744093"/>
                <a:gd name="connsiteX27" fmla="*/ 364617 w 1762125"/>
                <a:gd name="connsiteY27" fmla="*/ 0 h 744093"/>
                <a:gd name="connsiteX28" fmla="*/ 378428 w 1762125"/>
                <a:gd name="connsiteY28" fmla="*/ 0 h 744093"/>
                <a:gd name="connsiteX29" fmla="*/ 431292 w 1762125"/>
                <a:gd name="connsiteY29" fmla="*/ 266700 h 744093"/>
                <a:gd name="connsiteX30" fmla="*/ 424815 w 1762125"/>
                <a:gd name="connsiteY30" fmla="*/ 250698 h 744093"/>
                <a:gd name="connsiteX31" fmla="*/ 424625 w 1762125"/>
                <a:gd name="connsiteY31" fmla="*/ 136398 h 744093"/>
                <a:gd name="connsiteX32" fmla="*/ 417957 w 1762125"/>
                <a:gd name="connsiteY32" fmla="*/ 95250 h 744093"/>
                <a:gd name="connsiteX33" fmla="*/ 327470 w 1762125"/>
                <a:gd name="connsiteY33" fmla="*/ 94774 h 744093"/>
                <a:gd name="connsiteX34" fmla="*/ 320707 w 1762125"/>
                <a:gd name="connsiteY34" fmla="*/ 144685 h 744093"/>
                <a:gd name="connsiteX35" fmla="*/ 320516 w 1762125"/>
                <a:gd name="connsiteY35" fmla="*/ 247555 h 744093"/>
                <a:gd name="connsiteX36" fmla="*/ 288703 w 1762125"/>
                <a:gd name="connsiteY36" fmla="*/ 279273 h 744093"/>
                <a:gd name="connsiteX37" fmla="*/ 162020 w 1762125"/>
                <a:gd name="connsiteY37" fmla="*/ 286607 h 744093"/>
                <a:gd name="connsiteX38" fmla="*/ 76010 w 1762125"/>
                <a:gd name="connsiteY38" fmla="*/ 365950 h 744093"/>
                <a:gd name="connsiteX39" fmla="*/ 66389 w 1762125"/>
                <a:gd name="connsiteY39" fmla="*/ 473583 h 744093"/>
                <a:gd name="connsiteX40" fmla="*/ 67342 w 1762125"/>
                <a:gd name="connsiteY40" fmla="*/ 671798 h 744093"/>
                <a:gd name="connsiteX41" fmla="*/ 71914 w 1762125"/>
                <a:gd name="connsiteY41" fmla="*/ 676275 h 744093"/>
                <a:gd name="connsiteX42" fmla="*/ 1690307 w 1762125"/>
                <a:gd name="connsiteY42" fmla="*/ 676275 h 744093"/>
                <a:gd name="connsiteX43" fmla="*/ 1694879 w 1762125"/>
                <a:gd name="connsiteY43" fmla="*/ 671798 h 744093"/>
                <a:gd name="connsiteX44" fmla="*/ 1695736 w 1762125"/>
                <a:gd name="connsiteY44" fmla="*/ 468630 h 744093"/>
                <a:gd name="connsiteX45" fmla="*/ 1686497 w 1762125"/>
                <a:gd name="connsiteY45" fmla="*/ 367094 h 744093"/>
                <a:gd name="connsiteX46" fmla="*/ 1561338 w 1762125"/>
                <a:gd name="connsiteY46" fmla="*/ 279845 h 744093"/>
                <a:gd name="connsiteX47" fmla="*/ 1514666 w 1762125"/>
                <a:gd name="connsiteY47" fmla="*/ 279178 h 744093"/>
                <a:gd name="connsiteX48" fmla="*/ 1482376 w 1762125"/>
                <a:gd name="connsiteY48" fmla="*/ 247364 h 744093"/>
                <a:gd name="connsiteX49" fmla="*/ 1481900 w 1762125"/>
                <a:gd name="connsiteY49" fmla="*/ 126873 h 744093"/>
                <a:gd name="connsiteX50" fmla="*/ 1456849 w 1762125"/>
                <a:gd name="connsiteY50" fmla="*/ 74867 h 744093"/>
                <a:gd name="connsiteX51" fmla="*/ 1387221 w 1762125"/>
                <a:gd name="connsiteY51" fmla="*/ 96965 h 744093"/>
                <a:gd name="connsiteX52" fmla="*/ 1380839 w 1762125"/>
                <a:gd name="connsiteY52" fmla="*/ 133445 h 744093"/>
                <a:gd name="connsiteX53" fmla="*/ 1380554 w 1762125"/>
                <a:gd name="connsiteY53" fmla="*/ 245936 h 744093"/>
                <a:gd name="connsiteX54" fmla="*/ 1347216 w 1762125"/>
                <a:gd name="connsiteY54" fmla="*/ 279463 h 744093"/>
                <a:gd name="connsiteX55" fmla="*/ 1347121 w 1762125"/>
                <a:gd name="connsiteY55" fmla="*/ 279463 h 744093"/>
                <a:gd name="connsiteX56" fmla="*/ 459676 w 1762125"/>
                <a:gd name="connsiteY56" fmla="*/ 279083 h 744093"/>
                <a:gd name="connsiteX57" fmla="*/ 431292 w 1762125"/>
                <a:gd name="connsiteY57" fmla="*/ 266700 h 7440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1762125" h="744093">
                  <a:moveTo>
                    <a:pt x="378428" y="0"/>
                  </a:moveTo>
                  <a:cubicBezTo>
                    <a:pt x="434816" y="9017"/>
                    <a:pt x="470472" y="37910"/>
                    <a:pt x="485394" y="86678"/>
                  </a:cubicBezTo>
                  <a:cubicBezTo>
                    <a:pt x="490030" y="101854"/>
                    <a:pt x="491998" y="121920"/>
                    <a:pt x="491300" y="146876"/>
                  </a:cubicBezTo>
                  <a:cubicBezTo>
                    <a:pt x="490855" y="165926"/>
                    <a:pt x="490855" y="186023"/>
                    <a:pt x="491300" y="207169"/>
                  </a:cubicBezTo>
                  <a:cubicBezTo>
                    <a:pt x="491363" y="210915"/>
                    <a:pt x="493268" y="212789"/>
                    <a:pt x="497015" y="212789"/>
                  </a:cubicBezTo>
                  <a:lnTo>
                    <a:pt x="1308735" y="212789"/>
                  </a:lnTo>
                  <a:cubicBezTo>
                    <a:pt x="1311783" y="212789"/>
                    <a:pt x="1313371" y="211296"/>
                    <a:pt x="1313498" y="208312"/>
                  </a:cubicBezTo>
                  <a:cubicBezTo>
                    <a:pt x="1315403" y="170879"/>
                    <a:pt x="1309497" y="124682"/>
                    <a:pt x="1318451" y="91154"/>
                  </a:cubicBezTo>
                  <a:cubicBezTo>
                    <a:pt x="1331976" y="40037"/>
                    <a:pt x="1367854" y="9652"/>
                    <a:pt x="1426083" y="0"/>
                  </a:cubicBezTo>
                  <a:lnTo>
                    <a:pt x="1437323" y="0"/>
                  </a:lnTo>
                  <a:cubicBezTo>
                    <a:pt x="1493330" y="9271"/>
                    <a:pt x="1528604" y="38386"/>
                    <a:pt x="1543145" y="87344"/>
                  </a:cubicBezTo>
                  <a:cubicBezTo>
                    <a:pt x="1552956" y="120301"/>
                    <a:pt x="1548384" y="171450"/>
                    <a:pt x="1548670" y="206693"/>
                  </a:cubicBezTo>
                  <a:cubicBezTo>
                    <a:pt x="1548733" y="209868"/>
                    <a:pt x="1550321" y="211741"/>
                    <a:pt x="1553432" y="212312"/>
                  </a:cubicBezTo>
                  <a:cubicBezTo>
                    <a:pt x="1557814" y="213074"/>
                    <a:pt x="1566609" y="213963"/>
                    <a:pt x="1579817" y="214979"/>
                  </a:cubicBezTo>
                  <a:cubicBezTo>
                    <a:pt x="1592580" y="215995"/>
                    <a:pt x="1602804" y="217678"/>
                    <a:pt x="1610487" y="220028"/>
                  </a:cubicBezTo>
                  <a:cubicBezTo>
                    <a:pt x="1698879" y="246761"/>
                    <a:pt x="1749425" y="307150"/>
                    <a:pt x="1762125" y="401193"/>
                  </a:cubicBezTo>
                  <a:lnTo>
                    <a:pt x="1762125" y="715804"/>
                  </a:lnTo>
                  <a:cubicBezTo>
                    <a:pt x="1756220" y="734282"/>
                    <a:pt x="1743520" y="743522"/>
                    <a:pt x="1724025" y="743522"/>
                  </a:cubicBezTo>
                  <a:cubicBezTo>
                    <a:pt x="1182688" y="743077"/>
                    <a:pt x="641350" y="743268"/>
                    <a:pt x="100013" y="744093"/>
                  </a:cubicBezTo>
                  <a:cubicBezTo>
                    <a:pt x="77343" y="744093"/>
                    <a:pt x="54546" y="743363"/>
                    <a:pt x="31623" y="741902"/>
                  </a:cubicBezTo>
                  <a:cubicBezTo>
                    <a:pt x="12319" y="740632"/>
                    <a:pt x="1778" y="729964"/>
                    <a:pt x="0" y="709898"/>
                  </a:cubicBezTo>
                  <a:lnTo>
                    <a:pt x="0" y="400907"/>
                  </a:lnTo>
                  <a:cubicBezTo>
                    <a:pt x="17018" y="291497"/>
                    <a:pt x="79058" y="229203"/>
                    <a:pt x="186119" y="214027"/>
                  </a:cubicBezTo>
                  <a:cubicBezTo>
                    <a:pt x="192723" y="213074"/>
                    <a:pt x="203994" y="212693"/>
                    <a:pt x="219932" y="212884"/>
                  </a:cubicBezTo>
                  <a:cubicBezTo>
                    <a:pt x="229775" y="213011"/>
                    <a:pt x="239427" y="212979"/>
                    <a:pt x="248888" y="212789"/>
                  </a:cubicBezTo>
                  <a:cubicBezTo>
                    <a:pt x="252381" y="212725"/>
                    <a:pt x="254127" y="210915"/>
                    <a:pt x="254127" y="207359"/>
                  </a:cubicBezTo>
                  <a:cubicBezTo>
                    <a:pt x="254508" y="170783"/>
                    <a:pt x="249269" y="118872"/>
                    <a:pt x="260604" y="83820"/>
                  </a:cubicBezTo>
                  <a:cubicBezTo>
                    <a:pt x="275781" y="37148"/>
                    <a:pt x="310452" y="9208"/>
                    <a:pt x="364617" y="0"/>
                  </a:cubicBezTo>
                  <a:lnTo>
                    <a:pt x="378428" y="0"/>
                  </a:lnTo>
                  <a:close/>
                  <a:moveTo>
                    <a:pt x="431292" y="266700"/>
                  </a:moveTo>
                  <a:cubicBezTo>
                    <a:pt x="427038" y="258699"/>
                    <a:pt x="424879" y="253365"/>
                    <a:pt x="424815" y="250698"/>
                  </a:cubicBezTo>
                  <a:cubicBezTo>
                    <a:pt x="424498" y="201295"/>
                    <a:pt x="424434" y="163195"/>
                    <a:pt x="424625" y="136398"/>
                  </a:cubicBezTo>
                  <a:cubicBezTo>
                    <a:pt x="424752" y="117031"/>
                    <a:pt x="422529" y="103315"/>
                    <a:pt x="417957" y="95250"/>
                  </a:cubicBezTo>
                  <a:cubicBezTo>
                    <a:pt x="397288" y="58960"/>
                    <a:pt x="346805" y="57531"/>
                    <a:pt x="327470" y="94774"/>
                  </a:cubicBezTo>
                  <a:cubicBezTo>
                    <a:pt x="322771" y="103854"/>
                    <a:pt x="320516" y="120491"/>
                    <a:pt x="320707" y="144685"/>
                  </a:cubicBezTo>
                  <a:cubicBezTo>
                    <a:pt x="320961" y="177133"/>
                    <a:pt x="320897" y="211423"/>
                    <a:pt x="320516" y="247555"/>
                  </a:cubicBezTo>
                  <a:cubicBezTo>
                    <a:pt x="320310" y="265023"/>
                    <a:pt x="306172" y="279119"/>
                    <a:pt x="288703" y="279273"/>
                  </a:cubicBezTo>
                  <a:cubicBezTo>
                    <a:pt x="246221" y="279749"/>
                    <a:pt x="196406" y="274511"/>
                    <a:pt x="162020" y="286607"/>
                  </a:cubicBezTo>
                  <a:cubicBezTo>
                    <a:pt x="119539" y="301466"/>
                    <a:pt x="90869" y="327914"/>
                    <a:pt x="76010" y="365950"/>
                  </a:cubicBezTo>
                  <a:cubicBezTo>
                    <a:pt x="69406" y="382715"/>
                    <a:pt x="66199" y="418592"/>
                    <a:pt x="66389" y="473583"/>
                  </a:cubicBezTo>
                  <a:cubicBezTo>
                    <a:pt x="66580" y="547942"/>
                    <a:pt x="66897" y="614013"/>
                    <a:pt x="67342" y="671798"/>
                  </a:cubicBezTo>
                  <a:cubicBezTo>
                    <a:pt x="67405" y="674783"/>
                    <a:pt x="68929" y="676275"/>
                    <a:pt x="71914" y="676275"/>
                  </a:cubicBezTo>
                  <a:lnTo>
                    <a:pt x="1690307" y="676275"/>
                  </a:lnTo>
                  <a:cubicBezTo>
                    <a:pt x="1693291" y="676275"/>
                    <a:pt x="1694815" y="674783"/>
                    <a:pt x="1694879" y="671798"/>
                  </a:cubicBezTo>
                  <a:cubicBezTo>
                    <a:pt x="1695387" y="629634"/>
                    <a:pt x="1695672" y="561912"/>
                    <a:pt x="1695736" y="468630"/>
                  </a:cubicBezTo>
                  <a:cubicBezTo>
                    <a:pt x="1695736" y="417513"/>
                    <a:pt x="1692656" y="383667"/>
                    <a:pt x="1686497" y="367094"/>
                  </a:cubicBezTo>
                  <a:cubicBezTo>
                    <a:pt x="1667351" y="315659"/>
                    <a:pt x="1617440" y="282416"/>
                    <a:pt x="1561338" y="279845"/>
                  </a:cubicBezTo>
                  <a:cubicBezTo>
                    <a:pt x="1551432" y="279400"/>
                    <a:pt x="1535875" y="279178"/>
                    <a:pt x="1514666" y="279178"/>
                  </a:cubicBezTo>
                  <a:cubicBezTo>
                    <a:pt x="1497017" y="279180"/>
                    <a:pt x="1482636" y="265011"/>
                    <a:pt x="1482376" y="247364"/>
                  </a:cubicBezTo>
                  <a:cubicBezTo>
                    <a:pt x="1482058" y="226536"/>
                    <a:pt x="1481900" y="186373"/>
                    <a:pt x="1481900" y="126873"/>
                  </a:cubicBezTo>
                  <a:cubicBezTo>
                    <a:pt x="1481900" y="102775"/>
                    <a:pt x="1475042" y="86773"/>
                    <a:pt x="1456849" y="74867"/>
                  </a:cubicBezTo>
                  <a:cubicBezTo>
                    <a:pt x="1431703" y="58388"/>
                    <a:pt x="1400842" y="69533"/>
                    <a:pt x="1387221" y="96965"/>
                  </a:cubicBezTo>
                  <a:cubicBezTo>
                    <a:pt x="1383221" y="105029"/>
                    <a:pt x="1381093" y="117189"/>
                    <a:pt x="1380839" y="133445"/>
                  </a:cubicBezTo>
                  <a:cubicBezTo>
                    <a:pt x="1380458" y="158655"/>
                    <a:pt x="1380363" y="196152"/>
                    <a:pt x="1380554" y="245936"/>
                  </a:cubicBezTo>
                  <a:cubicBezTo>
                    <a:pt x="1380606" y="264400"/>
                    <a:pt x="1365681" y="279411"/>
                    <a:pt x="1347216" y="279463"/>
                  </a:cubicBezTo>
                  <a:cubicBezTo>
                    <a:pt x="1347184" y="279463"/>
                    <a:pt x="1347153" y="279463"/>
                    <a:pt x="1347121" y="279463"/>
                  </a:cubicBezTo>
                  <a:cubicBezTo>
                    <a:pt x="995902" y="279591"/>
                    <a:pt x="700088" y="279464"/>
                    <a:pt x="459676" y="279083"/>
                  </a:cubicBezTo>
                  <a:cubicBezTo>
                    <a:pt x="445198" y="279019"/>
                    <a:pt x="435737" y="274892"/>
                    <a:pt x="431292" y="26670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" name="Free-form: Shape 298">
              <a:extLst>
                <a:ext uri="{FF2B5EF4-FFF2-40B4-BE49-F238E27FC236}">
                  <a16:creationId xmlns:a16="http://schemas.microsoft.com/office/drawing/2014/main" id="{9FDD9C00-3D10-814F-D6E5-089478F350F9}"/>
                </a:ext>
              </a:extLst>
            </p:cNvPr>
            <p:cNvSpPr/>
            <p:nvPr/>
          </p:nvSpPr>
          <p:spPr>
            <a:xfrm>
              <a:off x="6761932" y="1934805"/>
              <a:ext cx="1648014" cy="1095597"/>
            </a:xfrm>
            <a:custGeom>
              <a:avLst/>
              <a:gdLst>
                <a:gd name="connsiteX0" fmla="*/ 1762125 w 1762125"/>
                <a:gd name="connsiteY0" fmla="*/ 27030 h 1171458"/>
                <a:gd name="connsiteX1" fmla="*/ 1762125 w 1762125"/>
                <a:gd name="connsiteY1" fmla="*/ 979816 h 1171458"/>
                <a:gd name="connsiteX2" fmla="*/ 1570577 w 1762125"/>
                <a:gd name="connsiteY2" fmla="*/ 1171459 h 1171458"/>
                <a:gd name="connsiteX3" fmla="*/ 192405 w 1762125"/>
                <a:gd name="connsiteY3" fmla="*/ 1171459 h 1171458"/>
                <a:gd name="connsiteX4" fmla="*/ 0 w 1762125"/>
                <a:gd name="connsiteY4" fmla="*/ 979720 h 1171458"/>
                <a:gd name="connsiteX5" fmla="*/ 0 w 1762125"/>
                <a:gd name="connsiteY5" fmla="*/ 34936 h 1171458"/>
                <a:gd name="connsiteX6" fmla="*/ 40481 w 1762125"/>
                <a:gd name="connsiteY6" fmla="*/ 169 h 1171458"/>
                <a:gd name="connsiteX7" fmla="*/ 1724025 w 1762125"/>
                <a:gd name="connsiteY7" fmla="*/ 265 h 1171458"/>
                <a:gd name="connsiteX8" fmla="*/ 1762125 w 1762125"/>
                <a:gd name="connsiteY8" fmla="*/ 27030 h 1171458"/>
                <a:gd name="connsiteX9" fmla="*/ 881158 w 1762125"/>
                <a:gd name="connsiteY9" fmla="*/ 1104784 h 1171458"/>
                <a:gd name="connsiteX10" fmla="*/ 1547717 w 1762125"/>
                <a:gd name="connsiteY10" fmla="*/ 1104403 h 1171458"/>
                <a:gd name="connsiteX11" fmla="*/ 1681543 w 1762125"/>
                <a:gd name="connsiteY11" fmla="*/ 1025155 h 1171458"/>
                <a:gd name="connsiteX12" fmla="*/ 1695641 w 1762125"/>
                <a:gd name="connsiteY12" fmla="*/ 920189 h 1171458"/>
                <a:gd name="connsiteX13" fmla="*/ 1695545 w 1762125"/>
                <a:gd name="connsiteY13" fmla="*/ 69702 h 1171458"/>
                <a:gd name="connsiteX14" fmla="*/ 1692402 w 1762125"/>
                <a:gd name="connsiteY14" fmla="*/ 66654 h 1171458"/>
                <a:gd name="connsiteX15" fmla="*/ 881063 w 1762125"/>
                <a:gd name="connsiteY15" fmla="*/ 66559 h 1171458"/>
                <a:gd name="connsiteX16" fmla="*/ 69628 w 1762125"/>
                <a:gd name="connsiteY16" fmla="*/ 66844 h 1171458"/>
                <a:gd name="connsiteX17" fmla="*/ 66580 w 1762125"/>
                <a:gd name="connsiteY17" fmla="*/ 69892 h 1171458"/>
                <a:gd name="connsiteX18" fmla="*/ 66675 w 1762125"/>
                <a:gd name="connsiteY18" fmla="*/ 920380 h 1171458"/>
                <a:gd name="connsiteX19" fmla="*/ 80772 w 1762125"/>
                <a:gd name="connsiteY19" fmla="*/ 1025345 h 1171458"/>
                <a:gd name="connsiteX20" fmla="*/ 214598 w 1762125"/>
                <a:gd name="connsiteY20" fmla="*/ 1104593 h 1171458"/>
                <a:gd name="connsiteX21" fmla="*/ 881158 w 1762125"/>
                <a:gd name="connsiteY21" fmla="*/ 1104784 h 1171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762125" h="1171458">
                  <a:moveTo>
                    <a:pt x="1762125" y="27030"/>
                  </a:moveTo>
                  <a:lnTo>
                    <a:pt x="1762125" y="979816"/>
                  </a:lnTo>
                  <a:cubicBezTo>
                    <a:pt x="1746250" y="1091766"/>
                    <a:pt x="1682401" y="1155647"/>
                    <a:pt x="1570577" y="1171459"/>
                  </a:cubicBezTo>
                  <a:lnTo>
                    <a:pt x="192405" y="1171459"/>
                  </a:lnTo>
                  <a:cubicBezTo>
                    <a:pt x="80074" y="1156092"/>
                    <a:pt x="15939" y="1092179"/>
                    <a:pt x="0" y="979720"/>
                  </a:cubicBezTo>
                  <a:lnTo>
                    <a:pt x="0" y="34936"/>
                  </a:lnTo>
                  <a:cubicBezTo>
                    <a:pt x="1207" y="11758"/>
                    <a:pt x="14700" y="169"/>
                    <a:pt x="40481" y="169"/>
                  </a:cubicBezTo>
                  <a:cubicBezTo>
                    <a:pt x="601694" y="-85"/>
                    <a:pt x="1162876" y="-53"/>
                    <a:pt x="1724025" y="265"/>
                  </a:cubicBezTo>
                  <a:cubicBezTo>
                    <a:pt x="1744282" y="265"/>
                    <a:pt x="1756982" y="9186"/>
                    <a:pt x="1762125" y="27030"/>
                  </a:cubicBezTo>
                  <a:close/>
                  <a:moveTo>
                    <a:pt x="881158" y="1104784"/>
                  </a:moveTo>
                  <a:cubicBezTo>
                    <a:pt x="1239933" y="1104720"/>
                    <a:pt x="1462119" y="1104593"/>
                    <a:pt x="1547717" y="1104403"/>
                  </a:cubicBezTo>
                  <a:cubicBezTo>
                    <a:pt x="1612995" y="1104276"/>
                    <a:pt x="1657604" y="1077860"/>
                    <a:pt x="1681543" y="1025155"/>
                  </a:cubicBezTo>
                  <a:cubicBezTo>
                    <a:pt x="1691132" y="1004136"/>
                    <a:pt x="1695831" y="969148"/>
                    <a:pt x="1695641" y="920189"/>
                  </a:cubicBezTo>
                  <a:cubicBezTo>
                    <a:pt x="1695577" y="886344"/>
                    <a:pt x="1695545" y="602848"/>
                    <a:pt x="1695545" y="69702"/>
                  </a:cubicBezTo>
                  <a:cubicBezTo>
                    <a:pt x="1695545" y="68019"/>
                    <a:pt x="1694138" y="66654"/>
                    <a:pt x="1692402" y="66654"/>
                  </a:cubicBezTo>
                  <a:cubicBezTo>
                    <a:pt x="1422083" y="66590"/>
                    <a:pt x="1151636" y="66559"/>
                    <a:pt x="881063" y="66559"/>
                  </a:cubicBezTo>
                  <a:cubicBezTo>
                    <a:pt x="610489" y="66559"/>
                    <a:pt x="340011" y="66654"/>
                    <a:pt x="69628" y="66844"/>
                  </a:cubicBezTo>
                  <a:cubicBezTo>
                    <a:pt x="67929" y="66895"/>
                    <a:pt x="66579" y="68245"/>
                    <a:pt x="66580" y="69892"/>
                  </a:cubicBezTo>
                  <a:cubicBezTo>
                    <a:pt x="66707" y="603038"/>
                    <a:pt x="66739" y="886534"/>
                    <a:pt x="66675" y="920380"/>
                  </a:cubicBezTo>
                  <a:cubicBezTo>
                    <a:pt x="66485" y="969338"/>
                    <a:pt x="71184" y="1004327"/>
                    <a:pt x="80772" y="1025345"/>
                  </a:cubicBezTo>
                  <a:cubicBezTo>
                    <a:pt x="104711" y="1078050"/>
                    <a:pt x="149320" y="1104466"/>
                    <a:pt x="214598" y="1104593"/>
                  </a:cubicBezTo>
                  <a:cubicBezTo>
                    <a:pt x="300196" y="1104784"/>
                    <a:pt x="522383" y="1104847"/>
                    <a:pt x="881158" y="1104784"/>
                  </a:cubicBezTo>
                  <a:close/>
                </a:path>
              </a:pathLst>
            </a:custGeom>
            <a:solidFill>
              <a:schemeClr val="tx2"/>
            </a:solidFill>
            <a:ln w="9525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0B19CA40-D385-E83D-AADE-02CC55622F4F}"/>
              </a:ext>
            </a:extLst>
          </p:cNvPr>
          <p:cNvSpPr txBox="1"/>
          <p:nvPr/>
        </p:nvSpPr>
        <p:spPr>
          <a:xfrm>
            <a:off x="8587505" y="4434028"/>
            <a:ext cx="177471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dirty="0"/>
              <a:t>Last posting date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82A80843-6459-980A-E6B0-B780EB84DCDF}"/>
              </a:ext>
            </a:extLst>
          </p:cNvPr>
          <p:cNvGrpSpPr/>
          <p:nvPr/>
        </p:nvGrpSpPr>
        <p:grpSpPr>
          <a:xfrm>
            <a:off x="8650857" y="2524820"/>
            <a:ext cx="1648014" cy="1808359"/>
            <a:chOff x="6761932" y="1222043"/>
            <a:chExt cx="1648014" cy="1808359"/>
          </a:xfrm>
        </p:grpSpPr>
        <p:sp>
          <p:nvSpPr>
            <p:cNvPr id="20" name="Free-form: Shape 297">
              <a:extLst>
                <a:ext uri="{FF2B5EF4-FFF2-40B4-BE49-F238E27FC236}">
                  <a16:creationId xmlns:a16="http://schemas.microsoft.com/office/drawing/2014/main" id="{6E206338-7DCA-192C-E14C-8513EC2D5540}"/>
                </a:ext>
              </a:extLst>
            </p:cNvPr>
            <p:cNvSpPr/>
            <p:nvPr/>
          </p:nvSpPr>
          <p:spPr>
            <a:xfrm>
              <a:off x="6761932" y="1222043"/>
              <a:ext cx="1648014" cy="695907"/>
            </a:xfrm>
            <a:custGeom>
              <a:avLst/>
              <a:gdLst>
                <a:gd name="connsiteX0" fmla="*/ 378428 w 1762125"/>
                <a:gd name="connsiteY0" fmla="*/ 0 h 744093"/>
                <a:gd name="connsiteX1" fmla="*/ 485394 w 1762125"/>
                <a:gd name="connsiteY1" fmla="*/ 86678 h 744093"/>
                <a:gd name="connsiteX2" fmla="*/ 491300 w 1762125"/>
                <a:gd name="connsiteY2" fmla="*/ 146876 h 744093"/>
                <a:gd name="connsiteX3" fmla="*/ 491300 w 1762125"/>
                <a:gd name="connsiteY3" fmla="*/ 207169 h 744093"/>
                <a:gd name="connsiteX4" fmla="*/ 497015 w 1762125"/>
                <a:gd name="connsiteY4" fmla="*/ 212789 h 744093"/>
                <a:gd name="connsiteX5" fmla="*/ 1308735 w 1762125"/>
                <a:gd name="connsiteY5" fmla="*/ 212789 h 744093"/>
                <a:gd name="connsiteX6" fmla="*/ 1313498 w 1762125"/>
                <a:gd name="connsiteY6" fmla="*/ 208312 h 744093"/>
                <a:gd name="connsiteX7" fmla="*/ 1318451 w 1762125"/>
                <a:gd name="connsiteY7" fmla="*/ 91154 h 744093"/>
                <a:gd name="connsiteX8" fmla="*/ 1426083 w 1762125"/>
                <a:gd name="connsiteY8" fmla="*/ 0 h 744093"/>
                <a:gd name="connsiteX9" fmla="*/ 1437323 w 1762125"/>
                <a:gd name="connsiteY9" fmla="*/ 0 h 744093"/>
                <a:gd name="connsiteX10" fmla="*/ 1543145 w 1762125"/>
                <a:gd name="connsiteY10" fmla="*/ 87344 h 744093"/>
                <a:gd name="connsiteX11" fmla="*/ 1548670 w 1762125"/>
                <a:gd name="connsiteY11" fmla="*/ 206693 h 744093"/>
                <a:gd name="connsiteX12" fmla="*/ 1553432 w 1762125"/>
                <a:gd name="connsiteY12" fmla="*/ 212312 h 744093"/>
                <a:gd name="connsiteX13" fmla="*/ 1579817 w 1762125"/>
                <a:gd name="connsiteY13" fmla="*/ 214979 h 744093"/>
                <a:gd name="connsiteX14" fmla="*/ 1610487 w 1762125"/>
                <a:gd name="connsiteY14" fmla="*/ 220028 h 744093"/>
                <a:gd name="connsiteX15" fmla="*/ 1762125 w 1762125"/>
                <a:gd name="connsiteY15" fmla="*/ 401193 h 744093"/>
                <a:gd name="connsiteX16" fmla="*/ 1762125 w 1762125"/>
                <a:gd name="connsiteY16" fmla="*/ 715804 h 744093"/>
                <a:gd name="connsiteX17" fmla="*/ 1724025 w 1762125"/>
                <a:gd name="connsiteY17" fmla="*/ 743522 h 744093"/>
                <a:gd name="connsiteX18" fmla="*/ 100013 w 1762125"/>
                <a:gd name="connsiteY18" fmla="*/ 744093 h 744093"/>
                <a:gd name="connsiteX19" fmla="*/ 31623 w 1762125"/>
                <a:gd name="connsiteY19" fmla="*/ 741902 h 744093"/>
                <a:gd name="connsiteX20" fmla="*/ 0 w 1762125"/>
                <a:gd name="connsiteY20" fmla="*/ 709898 h 744093"/>
                <a:gd name="connsiteX21" fmla="*/ 0 w 1762125"/>
                <a:gd name="connsiteY21" fmla="*/ 400907 h 744093"/>
                <a:gd name="connsiteX22" fmla="*/ 186119 w 1762125"/>
                <a:gd name="connsiteY22" fmla="*/ 214027 h 744093"/>
                <a:gd name="connsiteX23" fmla="*/ 219932 w 1762125"/>
                <a:gd name="connsiteY23" fmla="*/ 212884 h 744093"/>
                <a:gd name="connsiteX24" fmla="*/ 248888 w 1762125"/>
                <a:gd name="connsiteY24" fmla="*/ 212789 h 744093"/>
                <a:gd name="connsiteX25" fmla="*/ 254127 w 1762125"/>
                <a:gd name="connsiteY25" fmla="*/ 207359 h 744093"/>
                <a:gd name="connsiteX26" fmla="*/ 260604 w 1762125"/>
                <a:gd name="connsiteY26" fmla="*/ 83820 h 744093"/>
                <a:gd name="connsiteX27" fmla="*/ 364617 w 1762125"/>
                <a:gd name="connsiteY27" fmla="*/ 0 h 744093"/>
                <a:gd name="connsiteX28" fmla="*/ 378428 w 1762125"/>
                <a:gd name="connsiteY28" fmla="*/ 0 h 744093"/>
                <a:gd name="connsiteX29" fmla="*/ 431292 w 1762125"/>
                <a:gd name="connsiteY29" fmla="*/ 266700 h 744093"/>
                <a:gd name="connsiteX30" fmla="*/ 424815 w 1762125"/>
                <a:gd name="connsiteY30" fmla="*/ 250698 h 744093"/>
                <a:gd name="connsiteX31" fmla="*/ 424625 w 1762125"/>
                <a:gd name="connsiteY31" fmla="*/ 136398 h 744093"/>
                <a:gd name="connsiteX32" fmla="*/ 417957 w 1762125"/>
                <a:gd name="connsiteY32" fmla="*/ 95250 h 744093"/>
                <a:gd name="connsiteX33" fmla="*/ 327470 w 1762125"/>
                <a:gd name="connsiteY33" fmla="*/ 94774 h 744093"/>
                <a:gd name="connsiteX34" fmla="*/ 320707 w 1762125"/>
                <a:gd name="connsiteY34" fmla="*/ 144685 h 744093"/>
                <a:gd name="connsiteX35" fmla="*/ 320516 w 1762125"/>
                <a:gd name="connsiteY35" fmla="*/ 247555 h 744093"/>
                <a:gd name="connsiteX36" fmla="*/ 288703 w 1762125"/>
                <a:gd name="connsiteY36" fmla="*/ 279273 h 744093"/>
                <a:gd name="connsiteX37" fmla="*/ 162020 w 1762125"/>
                <a:gd name="connsiteY37" fmla="*/ 286607 h 744093"/>
                <a:gd name="connsiteX38" fmla="*/ 76010 w 1762125"/>
                <a:gd name="connsiteY38" fmla="*/ 365950 h 744093"/>
                <a:gd name="connsiteX39" fmla="*/ 66389 w 1762125"/>
                <a:gd name="connsiteY39" fmla="*/ 473583 h 744093"/>
                <a:gd name="connsiteX40" fmla="*/ 67342 w 1762125"/>
                <a:gd name="connsiteY40" fmla="*/ 671798 h 744093"/>
                <a:gd name="connsiteX41" fmla="*/ 71914 w 1762125"/>
                <a:gd name="connsiteY41" fmla="*/ 676275 h 744093"/>
                <a:gd name="connsiteX42" fmla="*/ 1690307 w 1762125"/>
                <a:gd name="connsiteY42" fmla="*/ 676275 h 744093"/>
                <a:gd name="connsiteX43" fmla="*/ 1694879 w 1762125"/>
                <a:gd name="connsiteY43" fmla="*/ 671798 h 744093"/>
                <a:gd name="connsiteX44" fmla="*/ 1695736 w 1762125"/>
                <a:gd name="connsiteY44" fmla="*/ 468630 h 744093"/>
                <a:gd name="connsiteX45" fmla="*/ 1686497 w 1762125"/>
                <a:gd name="connsiteY45" fmla="*/ 367094 h 744093"/>
                <a:gd name="connsiteX46" fmla="*/ 1561338 w 1762125"/>
                <a:gd name="connsiteY46" fmla="*/ 279845 h 744093"/>
                <a:gd name="connsiteX47" fmla="*/ 1514666 w 1762125"/>
                <a:gd name="connsiteY47" fmla="*/ 279178 h 744093"/>
                <a:gd name="connsiteX48" fmla="*/ 1482376 w 1762125"/>
                <a:gd name="connsiteY48" fmla="*/ 247364 h 744093"/>
                <a:gd name="connsiteX49" fmla="*/ 1481900 w 1762125"/>
                <a:gd name="connsiteY49" fmla="*/ 126873 h 744093"/>
                <a:gd name="connsiteX50" fmla="*/ 1456849 w 1762125"/>
                <a:gd name="connsiteY50" fmla="*/ 74867 h 744093"/>
                <a:gd name="connsiteX51" fmla="*/ 1387221 w 1762125"/>
                <a:gd name="connsiteY51" fmla="*/ 96965 h 744093"/>
                <a:gd name="connsiteX52" fmla="*/ 1380839 w 1762125"/>
                <a:gd name="connsiteY52" fmla="*/ 133445 h 744093"/>
                <a:gd name="connsiteX53" fmla="*/ 1380554 w 1762125"/>
                <a:gd name="connsiteY53" fmla="*/ 245936 h 744093"/>
                <a:gd name="connsiteX54" fmla="*/ 1347216 w 1762125"/>
                <a:gd name="connsiteY54" fmla="*/ 279463 h 744093"/>
                <a:gd name="connsiteX55" fmla="*/ 1347121 w 1762125"/>
                <a:gd name="connsiteY55" fmla="*/ 279463 h 744093"/>
                <a:gd name="connsiteX56" fmla="*/ 459676 w 1762125"/>
                <a:gd name="connsiteY56" fmla="*/ 279083 h 744093"/>
                <a:gd name="connsiteX57" fmla="*/ 431292 w 1762125"/>
                <a:gd name="connsiteY57" fmla="*/ 266700 h 7440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1762125" h="744093">
                  <a:moveTo>
                    <a:pt x="378428" y="0"/>
                  </a:moveTo>
                  <a:cubicBezTo>
                    <a:pt x="434816" y="9017"/>
                    <a:pt x="470472" y="37910"/>
                    <a:pt x="485394" y="86678"/>
                  </a:cubicBezTo>
                  <a:cubicBezTo>
                    <a:pt x="490030" y="101854"/>
                    <a:pt x="491998" y="121920"/>
                    <a:pt x="491300" y="146876"/>
                  </a:cubicBezTo>
                  <a:cubicBezTo>
                    <a:pt x="490855" y="165926"/>
                    <a:pt x="490855" y="186023"/>
                    <a:pt x="491300" y="207169"/>
                  </a:cubicBezTo>
                  <a:cubicBezTo>
                    <a:pt x="491363" y="210915"/>
                    <a:pt x="493268" y="212789"/>
                    <a:pt x="497015" y="212789"/>
                  </a:cubicBezTo>
                  <a:lnTo>
                    <a:pt x="1308735" y="212789"/>
                  </a:lnTo>
                  <a:cubicBezTo>
                    <a:pt x="1311783" y="212789"/>
                    <a:pt x="1313371" y="211296"/>
                    <a:pt x="1313498" y="208312"/>
                  </a:cubicBezTo>
                  <a:cubicBezTo>
                    <a:pt x="1315403" y="170879"/>
                    <a:pt x="1309497" y="124682"/>
                    <a:pt x="1318451" y="91154"/>
                  </a:cubicBezTo>
                  <a:cubicBezTo>
                    <a:pt x="1331976" y="40037"/>
                    <a:pt x="1367854" y="9652"/>
                    <a:pt x="1426083" y="0"/>
                  </a:cubicBezTo>
                  <a:lnTo>
                    <a:pt x="1437323" y="0"/>
                  </a:lnTo>
                  <a:cubicBezTo>
                    <a:pt x="1493330" y="9271"/>
                    <a:pt x="1528604" y="38386"/>
                    <a:pt x="1543145" y="87344"/>
                  </a:cubicBezTo>
                  <a:cubicBezTo>
                    <a:pt x="1552956" y="120301"/>
                    <a:pt x="1548384" y="171450"/>
                    <a:pt x="1548670" y="206693"/>
                  </a:cubicBezTo>
                  <a:cubicBezTo>
                    <a:pt x="1548733" y="209868"/>
                    <a:pt x="1550321" y="211741"/>
                    <a:pt x="1553432" y="212312"/>
                  </a:cubicBezTo>
                  <a:cubicBezTo>
                    <a:pt x="1557814" y="213074"/>
                    <a:pt x="1566609" y="213963"/>
                    <a:pt x="1579817" y="214979"/>
                  </a:cubicBezTo>
                  <a:cubicBezTo>
                    <a:pt x="1592580" y="215995"/>
                    <a:pt x="1602804" y="217678"/>
                    <a:pt x="1610487" y="220028"/>
                  </a:cubicBezTo>
                  <a:cubicBezTo>
                    <a:pt x="1698879" y="246761"/>
                    <a:pt x="1749425" y="307150"/>
                    <a:pt x="1762125" y="401193"/>
                  </a:cubicBezTo>
                  <a:lnTo>
                    <a:pt x="1762125" y="715804"/>
                  </a:lnTo>
                  <a:cubicBezTo>
                    <a:pt x="1756220" y="734282"/>
                    <a:pt x="1743520" y="743522"/>
                    <a:pt x="1724025" y="743522"/>
                  </a:cubicBezTo>
                  <a:cubicBezTo>
                    <a:pt x="1182688" y="743077"/>
                    <a:pt x="641350" y="743268"/>
                    <a:pt x="100013" y="744093"/>
                  </a:cubicBezTo>
                  <a:cubicBezTo>
                    <a:pt x="77343" y="744093"/>
                    <a:pt x="54546" y="743363"/>
                    <a:pt x="31623" y="741902"/>
                  </a:cubicBezTo>
                  <a:cubicBezTo>
                    <a:pt x="12319" y="740632"/>
                    <a:pt x="1778" y="729964"/>
                    <a:pt x="0" y="709898"/>
                  </a:cubicBezTo>
                  <a:lnTo>
                    <a:pt x="0" y="400907"/>
                  </a:lnTo>
                  <a:cubicBezTo>
                    <a:pt x="17018" y="291497"/>
                    <a:pt x="79058" y="229203"/>
                    <a:pt x="186119" y="214027"/>
                  </a:cubicBezTo>
                  <a:cubicBezTo>
                    <a:pt x="192723" y="213074"/>
                    <a:pt x="203994" y="212693"/>
                    <a:pt x="219932" y="212884"/>
                  </a:cubicBezTo>
                  <a:cubicBezTo>
                    <a:pt x="229775" y="213011"/>
                    <a:pt x="239427" y="212979"/>
                    <a:pt x="248888" y="212789"/>
                  </a:cubicBezTo>
                  <a:cubicBezTo>
                    <a:pt x="252381" y="212725"/>
                    <a:pt x="254127" y="210915"/>
                    <a:pt x="254127" y="207359"/>
                  </a:cubicBezTo>
                  <a:cubicBezTo>
                    <a:pt x="254508" y="170783"/>
                    <a:pt x="249269" y="118872"/>
                    <a:pt x="260604" y="83820"/>
                  </a:cubicBezTo>
                  <a:cubicBezTo>
                    <a:pt x="275781" y="37148"/>
                    <a:pt x="310452" y="9208"/>
                    <a:pt x="364617" y="0"/>
                  </a:cubicBezTo>
                  <a:lnTo>
                    <a:pt x="378428" y="0"/>
                  </a:lnTo>
                  <a:close/>
                  <a:moveTo>
                    <a:pt x="431292" y="266700"/>
                  </a:moveTo>
                  <a:cubicBezTo>
                    <a:pt x="427038" y="258699"/>
                    <a:pt x="424879" y="253365"/>
                    <a:pt x="424815" y="250698"/>
                  </a:cubicBezTo>
                  <a:cubicBezTo>
                    <a:pt x="424498" y="201295"/>
                    <a:pt x="424434" y="163195"/>
                    <a:pt x="424625" y="136398"/>
                  </a:cubicBezTo>
                  <a:cubicBezTo>
                    <a:pt x="424752" y="117031"/>
                    <a:pt x="422529" y="103315"/>
                    <a:pt x="417957" y="95250"/>
                  </a:cubicBezTo>
                  <a:cubicBezTo>
                    <a:pt x="397288" y="58960"/>
                    <a:pt x="346805" y="57531"/>
                    <a:pt x="327470" y="94774"/>
                  </a:cubicBezTo>
                  <a:cubicBezTo>
                    <a:pt x="322771" y="103854"/>
                    <a:pt x="320516" y="120491"/>
                    <a:pt x="320707" y="144685"/>
                  </a:cubicBezTo>
                  <a:cubicBezTo>
                    <a:pt x="320961" y="177133"/>
                    <a:pt x="320897" y="211423"/>
                    <a:pt x="320516" y="247555"/>
                  </a:cubicBezTo>
                  <a:cubicBezTo>
                    <a:pt x="320310" y="265023"/>
                    <a:pt x="306172" y="279119"/>
                    <a:pt x="288703" y="279273"/>
                  </a:cubicBezTo>
                  <a:cubicBezTo>
                    <a:pt x="246221" y="279749"/>
                    <a:pt x="196406" y="274511"/>
                    <a:pt x="162020" y="286607"/>
                  </a:cubicBezTo>
                  <a:cubicBezTo>
                    <a:pt x="119539" y="301466"/>
                    <a:pt x="90869" y="327914"/>
                    <a:pt x="76010" y="365950"/>
                  </a:cubicBezTo>
                  <a:cubicBezTo>
                    <a:pt x="69406" y="382715"/>
                    <a:pt x="66199" y="418592"/>
                    <a:pt x="66389" y="473583"/>
                  </a:cubicBezTo>
                  <a:cubicBezTo>
                    <a:pt x="66580" y="547942"/>
                    <a:pt x="66897" y="614013"/>
                    <a:pt x="67342" y="671798"/>
                  </a:cubicBezTo>
                  <a:cubicBezTo>
                    <a:pt x="67405" y="674783"/>
                    <a:pt x="68929" y="676275"/>
                    <a:pt x="71914" y="676275"/>
                  </a:cubicBezTo>
                  <a:lnTo>
                    <a:pt x="1690307" y="676275"/>
                  </a:lnTo>
                  <a:cubicBezTo>
                    <a:pt x="1693291" y="676275"/>
                    <a:pt x="1694815" y="674783"/>
                    <a:pt x="1694879" y="671798"/>
                  </a:cubicBezTo>
                  <a:cubicBezTo>
                    <a:pt x="1695387" y="629634"/>
                    <a:pt x="1695672" y="561912"/>
                    <a:pt x="1695736" y="468630"/>
                  </a:cubicBezTo>
                  <a:cubicBezTo>
                    <a:pt x="1695736" y="417513"/>
                    <a:pt x="1692656" y="383667"/>
                    <a:pt x="1686497" y="367094"/>
                  </a:cubicBezTo>
                  <a:cubicBezTo>
                    <a:pt x="1667351" y="315659"/>
                    <a:pt x="1617440" y="282416"/>
                    <a:pt x="1561338" y="279845"/>
                  </a:cubicBezTo>
                  <a:cubicBezTo>
                    <a:pt x="1551432" y="279400"/>
                    <a:pt x="1535875" y="279178"/>
                    <a:pt x="1514666" y="279178"/>
                  </a:cubicBezTo>
                  <a:cubicBezTo>
                    <a:pt x="1497017" y="279180"/>
                    <a:pt x="1482636" y="265011"/>
                    <a:pt x="1482376" y="247364"/>
                  </a:cubicBezTo>
                  <a:cubicBezTo>
                    <a:pt x="1482058" y="226536"/>
                    <a:pt x="1481900" y="186373"/>
                    <a:pt x="1481900" y="126873"/>
                  </a:cubicBezTo>
                  <a:cubicBezTo>
                    <a:pt x="1481900" y="102775"/>
                    <a:pt x="1475042" y="86773"/>
                    <a:pt x="1456849" y="74867"/>
                  </a:cubicBezTo>
                  <a:cubicBezTo>
                    <a:pt x="1431703" y="58388"/>
                    <a:pt x="1400842" y="69533"/>
                    <a:pt x="1387221" y="96965"/>
                  </a:cubicBezTo>
                  <a:cubicBezTo>
                    <a:pt x="1383221" y="105029"/>
                    <a:pt x="1381093" y="117189"/>
                    <a:pt x="1380839" y="133445"/>
                  </a:cubicBezTo>
                  <a:cubicBezTo>
                    <a:pt x="1380458" y="158655"/>
                    <a:pt x="1380363" y="196152"/>
                    <a:pt x="1380554" y="245936"/>
                  </a:cubicBezTo>
                  <a:cubicBezTo>
                    <a:pt x="1380606" y="264400"/>
                    <a:pt x="1365681" y="279411"/>
                    <a:pt x="1347216" y="279463"/>
                  </a:cubicBezTo>
                  <a:cubicBezTo>
                    <a:pt x="1347184" y="279463"/>
                    <a:pt x="1347153" y="279463"/>
                    <a:pt x="1347121" y="279463"/>
                  </a:cubicBezTo>
                  <a:cubicBezTo>
                    <a:pt x="995902" y="279591"/>
                    <a:pt x="700088" y="279464"/>
                    <a:pt x="459676" y="279083"/>
                  </a:cubicBezTo>
                  <a:cubicBezTo>
                    <a:pt x="445198" y="279019"/>
                    <a:pt x="435737" y="274892"/>
                    <a:pt x="431292" y="26670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" name="Free-form: Shape 298">
              <a:extLst>
                <a:ext uri="{FF2B5EF4-FFF2-40B4-BE49-F238E27FC236}">
                  <a16:creationId xmlns:a16="http://schemas.microsoft.com/office/drawing/2014/main" id="{416F8AA3-D77F-97E3-C0D7-FE74CC9FD6F6}"/>
                </a:ext>
              </a:extLst>
            </p:cNvPr>
            <p:cNvSpPr/>
            <p:nvPr/>
          </p:nvSpPr>
          <p:spPr>
            <a:xfrm>
              <a:off x="6761932" y="1934805"/>
              <a:ext cx="1648014" cy="1095597"/>
            </a:xfrm>
            <a:custGeom>
              <a:avLst/>
              <a:gdLst>
                <a:gd name="connsiteX0" fmla="*/ 1762125 w 1762125"/>
                <a:gd name="connsiteY0" fmla="*/ 27030 h 1171458"/>
                <a:gd name="connsiteX1" fmla="*/ 1762125 w 1762125"/>
                <a:gd name="connsiteY1" fmla="*/ 979816 h 1171458"/>
                <a:gd name="connsiteX2" fmla="*/ 1570577 w 1762125"/>
                <a:gd name="connsiteY2" fmla="*/ 1171459 h 1171458"/>
                <a:gd name="connsiteX3" fmla="*/ 192405 w 1762125"/>
                <a:gd name="connsiteY3" fmla="*/ 1171459 h 1171458"/>
                <a:gd name="connsiteX4" fmla="*/ 0 w 1762125"/>
                <a:gd name="connsiteY4" fmla="*/ 979720 h 1171458"/>
                <a:gd name="connsiteX5" fmla="*/ 0 w 1762125"/>
                <a:gd name="connsiteY5" fmla="*/ 34936 h 1171458"/>
                <a:gd name="connsiteX6" fmla="*/ 40481 w 1762125"/>
                <a:gd name="connsiteY6" fmla="*/ 169 h 1171458"/>
                <a:gd name="connsiteX7" fmla="*/ 1724025 w 1762125"/>
                <a:gd name="connsiteY7" fmla="*/ 265 h 1171458"/>
                <a:gd name="connsiteX8" fmla="*/ 1762125 w 1762125"/>
                <a:gd name="connsiteY8" fmla="*/ 27030 h 1171458"/>
                <a:gd name="connsiteX9" fmla="*/ 881158 w 1762125"/>
                <a:gd name="connsiteY9" fmla="*/ 1104784 h 1171458"/>
                <a:gd name="connsiteX10" fmla="*/ 1547717 w 1762125"/>
                <a:gd name="connsiteY10" fmla="*/ 1104403 h 1171458"/>
                <a:gd name="connsiteX11" fmla="*/ 1681543 w 1762125"/>
                <a:gd name="connsiteY11" fmla="*/ 1025155 h 1171458"/>
                <a:gd name="connsiteX12" fmla="*/ 1695641 w 1762125"/>
                <a:gd name="connsiteY12" fmla="*/ 920189 h 1171458"/>
                <a:gd name="connsiteX13" fmla="*/ 1695545 w 1762125"/>
                <a:gd name="connsiteY13" fmla="*/ 69702 h 1171458"/>
                <a:gd name="connsiteX14" fmla="*/ 1692402 w 1762125"/>
                <a:gd name="connsiteY14" fmla="*/ 66654 h 1171458"/>
                <a:gd name="connsiteX15" fmla="*/ 881063 w 1762125"/>
                <a:gd name="connsiteY15" fmla="*/ 66559 h 1171458"/>
                <a:gd name="connsiteX16" fmla="*/ 69628 w 1762125"/>
                <a:gd name="connsiteY16" fmla="*/ 66844 h 1171458"/>
                <a:gd name="connsiteX17" fmla="*/ 66580 w 1762125"/>
                <a:gd name="connsiteY17" fmla="*/ 69892 h 1171458"/>
                <a:gd name="connsiteX18" fmla="*/ 66675 w 1762125"/>
                <a:gd name="connsiteY18" fmla="*/ 920380 h 1171458"/>
                <a:gd name="connsiteX19" fmla="*/ 80772 w 1762125"/>
                <a:gd name="connsiteY19" fmla="*/ 1025345 h 1171458"/>
                <a:gd name="connsiteX20" fmla="*/ 214598 w 1762125"/>
                <a:gd name="connsiteY20" fmla="*/ 1104593 h 1171458"/>
                <a:gd name="connsiteX21" fmla="*/ 881158 w 1762125"/>
                <a:gd name="connsiteY21" fmla="*/ 1104784 h 1171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762125" h="1171458">
                  <a:moveTo>
                    <a:pt x="1762125" y="27030"/>
                  </a:moveTo>
                  <a:lnTo>
                    <a:pt x="1762125" y="979816"/>
                  </a:lnTo>
                  <a:cubicBezTo>
                    <a:pt x="1746250" y="1091766"/>
                    <a:pt x="1682401" y="1155647"/>
                    <a:pt x="1570577" y="1171459"/>
                  </a:cubicBezTo>
                  <a:lnTo>
                    <a:pt x="192405" y="1171459"/>
                  </a:lnTo>
                  <a:cubicBezTo>
                    <a:pt x="80074" y="1156092"/>
                    <a:pt x="15939" y="1092179"/>
                    <a:pt x="0" y="979720"/>
                  </a:cubicBezTo>
                  <a:lnTo>
                    <a:pt x="0" y="34936"/>
                  </a:lnTo>
                  <a:cubicBezTo>
                    <a:pt x="1207" y="11758"/>
                    <a:pt x="14700" y="169"/>
                    <a:pt x="40481" y="169"/>
                  </a:cubicBezTo>
                  <a:cubicBezTo>
                    <a:pt x="601694" y="-85"/>
                    <a:pt x="1162876" y="-53"/>
                    <a:pt x="1724025" y="265"/>
                  </a:cubicBezTo>
                  <a:cubicBezTo>
                    <a:pt x="1744282" y="265"/>
                    <a:pt x="1756982" y="9186"/>
                    <a:pt x="1762125" y="27030"/>
                  </a:cubicBezTo>
                  <a:close/>
                  <a:moveTo>
                    <a:pt x="881158" y="1104784"/>
                  </a:moveTo>
                  <a:cubicBezTo>
                    <a:pt x="1239933" y="1104720"/>
                    <a:pt x="1462119" y="1104593"/>
                    <a:pt x="1547717" y="1104403"/>
                  </a:cubicBezTo>
                  <a:cubicBezTo>
                    <a:pt x="1612995" y="1104276"/>
                    <a:pt x="1657604" y="1077860"/>
                    <a:pt x="1681543" y="1025155"/>
                  </a:cubicBezTo>
                  <a:cubicBezTo>
                    <a:pt x="1691132" y="1004136"/>
                    <a:pt x="1695831" y="969148"/>
                    <a:pt x="1695641" y="920189"/>
                  </a:cubicBezTo>
                  <a:cubicBezTo>
                    <a:pt x="1695577" y="886344"/>
                    <a:pt x="1695545" y="602848"/>
                    <a:pt x="1695545" y="69702"/>
                  </a:cubicBezTo>
                  <a:cubicBezTo>
                    <a:pt x="1695545" y="68019"/>
                    <a:pt x="1694138" y="66654"/>
                    <a:pt x="1692402" y="66654"/>
                  </a:cubicBezTo>
                  <a:cubicBezTo>
                    <a:pt x="1422083" y="66590"/>
                    <a:pt x="1151636" y="66559"/>
                    <a:pt x="881063" y="66559"/>
                  </a:cubicBezTo>
                  <a:cubicBezTo>
                    <a:pt x="610489" y="66559"/>
                    <a:pt x="340011" y="66654"/>
                    <a:pt x="69628" y="66844"/>
                  </a:cubicBezTo>
                  <a:cubicBezTo>
                    <a:pt x="67929" y="66895"/>
                    <a:pt x="66579" y="68245"/>
                    <a:pt x="66580" y="69892"/>
                  </a:cubicBezTo>
                  <a:cubicBezTo>
                    <a:pt x="66707" y="603038"/>
                    <a:pt x="66739" y="886534"/>
                    <a:pt x="66675" y="920380"/>
                  </a:cubicBezTo>
                  <a:cubicBezTo>
                    <a:pt x="66485" y="969338"/>
                    <a:pt x="71184" y="1004327"/>
                    <a:pt x="80772" y="1025345"/>
                  </a:cubicBezTo>
                  <a:cubicBezTo>
                    <a:pt x="104711" y="1078050"/>
                    <a:pt x="149320" y="1104466"/>
                    <a:pt x="214598" y="1104593"/>
                  </a:cubicBezTo>
                  <a:cubicBezTo>
                    <a:pt x="300196" y="1104784"/>
                    <a:pt x="522383" y="1104847"/>
                    <a:pt x="881158" y="1104784"/>
                  </a:cubicBezTo>
                  <a:close/>
                </a:path>
              </a:pathLst>
            </a:custGeom>
            <a:solidFill>
              <a:schemeClr val="tx2"/>
            </a:solidFill>
            <a:ln w="9525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79827002-F221-636A-826B-BF60448D8F42}"/>
              </a:ext>
            </a:extLst>
          </p:cNvPr>
          <p:cNvSpPr txBox="1"/>
          <p:nvPr/>
        </p:nvSpPr>
        <p:spPr>
          <a:xfrm>
            <a:off x="8736330" y="3448855"/>
            <a:ext cx="147707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b="1" dirty="0"/>
              <a:t>28 November</a:t>
            </a:r>
          </a:p>
          <a:p>
            <a:pPr algn="ctr"/>
            <a:r>
              <a:rPr lang="en-GB" b="1" dirty="0"/>
              <a:t>2025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7044F3B9-DC3E-71E6-6911-0217F31DBEDF}"/>
              </a:ext>
            </a:extLst>
          </p:cNvPr>
          <p:cNvGrpSpPr/>
          <p:nvPr/>
        </p:nvGrpSpPr>
        <p:grpSpPr>
          <a:xfrm>
            <a:off x="1950845" y="2524820"/>
            <a:ext cx="1648014" cy="1808359"/>
            <a:chOff x="6761932" y="1222043"/>
            <a:chExt cx="1648014" cy="1808359"/>
          </a:xfrm>
        </p:grpSpPr>
        <p:sp>
          <p:nvSpPr>
            <p:cNvPr id="17" name="Free-form: Shape 297">
              <a:extLst>
                <a:ext uri="{FF2B5EF4-FFF2-40B4-BE49-F238E27FC236}">
                  <a16:creationId xmlns:a16="http://schemas.microsoft.com/office/drawing/2014/main" id="{310866B8-1B23-93E1-4895-87C6565E967C}"/>
                </a:ext>
              </a:extLst>
            </p:cNvPr>
            <p:cNvSpPr/>
            <p:nvPr/>
          </p:nvSpPr>
          <p:spPr>
            <a:xfrm>
              <a:off x="6761932" y="1222043"/>
              <a:ext cx="1648014" cy="695907"/>
            </a:xfrm>
            <a:custGeom>
              <a:avLst/>
              <a:gdLst>
                <a:gd name="connsiteX0" fmla="*/ 378428 w 1762125"/>
                <a:gd name="connsiteY0" fmla="*/ 0 h 744093"/>
                <a:gd name="connsiteX1" fmla="*/ 485394 w 1762125"/>
                <a:gd name="connsiteY1" fmla="*/ 86678 h 744093"/>
                <a:gd name="connsiteX2" fmla="*/ 491300 w 1762125"/>
                <a:gd name="connsiteY2" fmla="*/ 146876 h 744093"/>
                <a:gd name="connsiteX3" fmla="*/ 491300 w 1762125"/>
                <a:gd name="connsiteY3" fmla="*/ 207169 h 744093"/>
                <a:gd name="connsiteX4" fmla="*/ 497015 w 1762125"/>
                <a:gd name="connsiteY4" fmla="*/ 212789 h 744093"/>
                <a:gd name="connsiteX5" fmla="*/ 1308735 w 1762125"/>
                <a:gd name="connsiteY5" fmla="*/ 212789 h 744093"/>
                <a:gd name="connsiteX6" fmla="*/ 1313498 w 1762125"/>
                <a:gd name="connsiteY6" fmla="*/ 208312 h 744093"/>
                <a:gd name="connsiteX7" fmla="*/ 1318451 w 1762125"/>
                <a:gd name="connsiteY7" fmla="*/ 91154 h 744093"/>
                <a:gd name="connsiteX8" fmla="*/ 1426083 w 1762125"/>
                <a:gd name="connsiteY8" fmla="*/ 0 h 744093"/>
                <a:gd name="connsiteX9" fmla="*/ 1437323 w 1762125"/>
                <a:gd name="connsiteY9" fmla="*/ 0 h 744093"/>
                <a:gd name="connsiteX10" fmla="*/ 1543145 w 1762125"/>
                <a:gd name="connsiteY10" fmla="*/ 87344 h 744093"/>
                <a:gd name="connsiteX11" fmla="*/ 1548670 w 1762125"/>
                <a:gd name="connsiteY11" fmla="*/ 206693 h 744093"/>
                <a:gd name="connsiteX12" fmla="*/ 1553432 w 1762125"/>
                <a:gd name="connsiteY12" fmla="*/ 212312 h 744093"/>
                <a:gd name="connsiteX13" fmla="*/ 1579817 w 1762125"/>
                <a:gd name="connsiteY13" fmla="*/ 214979 h 744093"/>
                <a:gd name="connsiteX14" fmla="*/ 1610487 w 1762125"/>
                <a:gd name="connsiteY14" fmla="*/ 220028 h 744093"/>
                <a:gd name="connsiteX15" fmla="*/ 1762125 w 1762125"/>
                <a:gd name="connsiteY15" fmla="*/ 401193 h 744093"/>
                <a:gd name="connsiteX16" fmla="*/ 1762125 w 1762125"/>
                <a:gd name="connsiteY16" fmla="*/ 715804 h 744093"/>
                <a:gd name="connsiteX17" fmla="*/ 1724025 w 1762125"/>
                <a:gd name="connsiteY17" fmla="*/ 743522 h 744093"/>
                <a:gd name="connsiteX18" fmla="*/ 100013 w 1762125"/>
                <a:gd name="connsiteY18" fmla="*/ 744093 h 744093"/>
                <a:gd name="connsiteX19" fmla="*/ 31623 w 1762125"/>
                <a:gd name="connsiteY19" fmla="*/ 741902 h 744093"/>
                <a:gd name="connsiteX20" fmla="*/ 0 w 1762125"/>
                <a:gd name="connsiteY20" fmla="*/ 709898 h 744093"/>
                <a:gd name="connsiteX21" fmla="*/ 0 w 1762125"/>
                <a:gd name="connsiteY21" fmla="*/ 400907 h 744093"/>
                <a:gd name="connsiteX22" fmla="*/ 186119 w 1762125"/>
                <a:gd name="connsiteY22" fmla="*/ 214027 h 744093"/>
                <a:gd name="connsiteX23" fmla="*/ 219932 w 1762125"/>
                <a:gd name="connsiteY23" fmla="*/ 212884 h 744093"/>
                <a:gd name="connsiteX24" fmla="*/ 248888 w 1762125"/>
                <a:gd name="connsiteY24" fmla="*/ 212789 h 744093"/>
                <a:gd name="connsiteX25" fmla="*/ 254127 w 1762125"/>
                <a:gd name="connsiteY25" fmla="*/ 207359 h 744093"/>
                <a:gd name="connsiteX26" fmla="*/ 260604 w 1762125"/>
                <a:gd name="connsiteY26" fmla="*/ 83820 h 744093"/>
                <a:gd name="connsiteX27" fmla="*/ 364617 w 1762125"/>
                <a:gd name="connsiteY27" fmla="*/ 0 h 744093"/>
                <a:gd name="connsiteX28" fmla="*/ 378428 w 1762125"/>
                <a:gd name="connsiteY28" fmla="*/ 0 h 744093"/>
                <a:gd name="connsiteX29" fmla="*/ 431292 w 1762125"/>
                <a:gd name="connsiteY29" fmla="*/ 266700 h 744093"/>
                <a:gd name="connsiteX30" fmla="*/ 424815 w 1762125"/>
                <a:gd name="connsiteY30" fmla="*/ 250698 h 744093"/>
                <a:gd name="connsiteX31" fmla="*/ 424625 w 1762125"/>
                <a:gd name="connsiteY31" fmla="*/ 136398 h 744093"/>
                <a:gd name="connsiteX32" fmla="*/ 417957 w 1762125"/>
                <a:gd name="connsiteY32" fmla="*/ 95250 h 744093"/>
                <a:gd name="connsiteX33" fmla="*/ 327470 w 1762125"/>
                <a:gd name="connsiteY33" fmla="*/ 94774 h 744093"/>
                <a:gd name="connsiteX34" fmla="*/ 320707 w 1762125"/>
                <a:gd name="connsiteY34" fmla="*/ 144685 h 744093"/>
                <a:gd name="connsiteX35" fmla="*/ 320516 w 1762125"/>
                <a:gd name="connsiteY35" fmla="*/ 247555 h 744093"/>
                <a:gd name="connsiteX36" fmla="*/ 288703 w 1762125"/>
                <a:gd name="connsiteY36" fmla="*/ 279273 h 744093"/>
                <a:gd name="connsiteX37" fmla="*/ 162020 w 1762125"/>
                <a:gd name="connsiteY37" fmla="*/ 286607 h 744093"/>
                <a:gd name="connsiteX38" fmla="*/ 76010 w 1762125"/>
                <a:gd name="connsiteY38" fmla="*/ 365950 h 744093"/>
                <a:gd name="connsiteX39" fmla="*/ 66389 w 1762125"/>
                <a:gd name="connsiteY39" fmla="*/ 473583 h 744093"/>
                <a:gd name="connsiteX40" fmla="*/ 67342 w 1762125"/>
                <a:gd name="connsiteY40" fmla="*/ 671798 h 744093"/>
                <a:gd name="connsiteX41" fmla="*/ 71914 w 1762125"/>
                <a:gd name="connsiteY41" fmla="*/ 676275 h 744093"/>
                <a:gd name="connsiteX42" fmla="*/ 1690307 w 1762125"/>
                <a:gd name="connsiteY42" fmla="*/ 676275 h 744093"/>
                <a:gd name="connsiteX43" fmla="*/ 1694879 w 1762125"/>
                <a:gd name="connsiteY43" fmla="*/ 671798 h 744093"/>
                <a:gd name="connsiteX44" fmla="*/ 1695736 w 1762125"/>
                <a:gd name="connsiteY44" fmla="*/ 468630 h 744093"/>
                <a:gd name="connsiteX45" fmla="*/ 1686497 w 1762125"/>
                <a:gd name="connsiteY45" fmla="*/ 367094 h 744093"/>
                <a:gd name="connsiteX46" fmla="*/ 1561338 w 1762125"/>
                <a:gd name="connsiteY46" fmla="*/ 279845 h 744093"/>
                <a:gd name="connsiteX47" fmla="*/ 1514666 w 1762125"/>
                <a:gd name="connsiteY47" fmla="*/ 279178 h 744093"/>
                <a:gd name="connsiteX48" fmla="*/ 1482376 w 1762125"/>
                <a:gd name="connsiteY48" fmla="*/ 247364 h 744093"/>
                <a:gd name="connsiteX49" fmla="*/ 1481900 w 1762125"/>
                <a:gd name="connsiteY49" fmla="*/ 126873 h 744093"/>
                <a:gd name="connsiteX50" fmla="*/ 1456849 w 1762125"/>
                <a:gd name="connsiteY50" fmla="*/ 74867 h 744093"/>
                <a:gd name="connsiteX51" fmla="*/ 1387221 w 1762125"/>
                <a:gd name="connsiteY51" fmla="*/ 96965 h 744093"/>
                <a:gd name="connsiteX52" fmla="*/ 1380839 w 1762125"/>
                <a:gd name="connsiteY52" fmla="*/ 133445 h 744093"/>
                <a:gd name="connsiteX53" fmla="*/ 1380554 w 1762125"/>
                <a:gd name="connsiteY53" fmla="*/ 245936 h 744093"/>
                <a:gd name="connsiteX54" fmla="*/ 1347216 w 1762125"/>
                <a:gd name="connsiteY54" fmla="*/ 279463 h 744093"/>
                <a:gd name="connsiteX55" fmla="*/ 1347121 w 1762125"/>
                <a:gd name="connsiteY55" fmla="*/ 279463 h 744093"/>
                <a:gd name="connsiteX56" fmla="*/ 459676 w 1762125"/>
                <a:gd name="connsiteY56" fmla="*/ 279083 h 744093"/>
                <a:gd name="connsiteX57" fmla="*/ 431292 w 1762125"/>
                <a:gd name="connsiteY57" fmla="*/ 266700 h 7440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1762125" h="744093">
                  <a:moveTo>
                    <a:pt x="378428" y="0"/>
                  </a:moveTo>
                  <a:cubicBezTo>
                    <a:pt x="434816" y="9017"/>
                    <a:pt x="470472" y="37910"/>
                    <a:pt x="485394" y="86678"/>
                  </a:cubicBezTo>
                  <a:cubicBezTo>
                    <a:pt x="490030" y="101854"/>
                    <a:pt x="491998" y="121920"/>
                    <a:pt x="491300" y="146876"/>
                  </a:cubicBezTo>
                  <a:cubicBezTo>
                    <a:pt x="490855" y="165926"/>
                    <a:pt x="490855" y="186023"/>
                    <a:pt x="491300" y="207169"/>
                  </a:cubicBezTo>
                  <a:cubicBezTo>
                    <a:pt x="491363" y="210915"/>
                    <a:pt x="493268" y="212789"/>
                    <a:pt x="497015" y="212789"/>
                  </a:cubicBezTo>
                  <a:lnTo>
                    <a:pt x="1308735" y="212789"/>
                  </a:lnTo>
                  <a:cubicBezTo>
                    <a:pt x="1311783" y="212789"/>
                    <a:pt x="1313371" y="211296"/>
                    <a:pt x="1313498" y="208312"/>
                  </a:cubicBezTo>
                  <a:cubicBezTo>
                    <a:pt x="1315403" y="170879"/>
                    <a:pt x="1309497" y="124682"/>
                    <a:pt x="1318451" y="91154"/>
                  </a:cubicBezTo>
                  <a:cubicBezTo>
                    <a:pt x="1331976" y="40037"/>
                    <a:pt x="1367854" y="9652"/>
                    <a:pt x="1426083" y="0"/>
                  </a:cubicBezTo>
                  <a:lnTo>
                    <a:pt x="1437323" y="0"/>
                  </a:lnTo>
                  <a:cubicBezTo>
                    <a:pt x="1493330" y="9271"/>
                    <a:pt x="1528604" y="38386"/>
                    <a:pt x="1543145" y="87344"/>
                  </a:cubicBezTo>
                  <a:cubicBezTo>
                    <a:pt x="1552956" y="120301"/>
                    <a:pt x="1548384" y="171450"/>
                    <a:pt x="1548670" y="206693"/>
                  </a:cubicBezTo>
                  <a:cubicBezTo>
                    <a:pt x="1548733" y="209868"/>
                    <a:pt x="1550321" y="211741"/>
                    <a:pt x="1553432" y="212312"/>
                  </a:cubicBezTo>
                  <a:cubicBezTo>
                    <a:pt x="1557814" y="213074"/>
                    <a:pt x="1566609" y="213963"/>
                    <a:pt x="1579817" y="214979"/>
                  </a:cubicBezTo>
                  <a:cubicBezTo>
                    <a:pt x="1592580" y="215995"/>
                    <a:pt x="1602804" y="217678"/>
                    <a:pt x="1610487" y="220028"/>
                  </a:cubicBezTo>
                  <a:cubicBezTo>
                    <a:pt x="1698879" y="246761"/>
                    <a:pt x="1749425" y="307150"/>
                    <a:pt x="1762125" y="401193"/>
                  </a:cubicBezTo>
                  <a:lnTo>
                    <a:pt x="1762125" y="715804"/>
                  </a:lnTo>
                  <a:cubicBezTo>
                    <a:pt x="1756220" y="734282"/>
                    <a:pt x="1743520" y="743522"/>
                    <a:pt x="1724025" y="743522"/>
                  </a:cubicBezTo>
                  <a:cubicBezTo>
                    <a:pt x="1182688" y="743077"/>
                    <a:pt x="641350" y="743268"/>
                    <a:pt x="100013" y="744093"/>
                  </a:cubicBezTo>
                  <a:cubicBezTo>
                    <a:pt x="77343" y="744093"/>
                    <a:pt x="54546" y="743363"/>
                    <a:pt x="31623" y="741902"/>
                  </a:cubicBezTo>
                  <a:cubicBezTo>
                    <a:pt x="12319" y="740632"/>
                    <a:pt x="1778" y="729964"/>
                    <a:pt x="0" y="709898"/>
                  </a:cubicBezTo>
                  <a:lnTo>
                    <a:pt x="0" y="400907"/>
                  </a:lnTo>
                  <a:cubicBezTo>
                    <a:pt x="17018" y="291497"/>
                    <a:pt x="79058" y="229203"/>
                    <a:pt x="186119" y="214027"/>
                  </a:cubicBezTo>
                  <a:cubicBezTo>
                    <a:pt x="192723" y="213074"/>
                    <a:pt x="203994" y="212693"/>
                    <a:pt x="219932" y="212884"/>
                  </a:cubicBezTo>
                  <a:cubicBezTo>
                    <a:pt x="229775" y="213011"/>
                    <a:pt x="239427" y="212979"/>
                    <a:pt x="248888" y="212789"/>
                  </a:cubicBezTo>
                  <a:cubicBezTo>
                    <a:pt x="252381" y="212725"/>
                    <a:pt x="254127" y="210915"/>
                    <a:pt x="254127" y="207359"/>
                  </a:cubicBezTo>
                  <a:cubicBezTo>
                    <a:pt x="254508" y="170783"/>
                    <a:pt x="249269" y="118872"/>
                    <a:pt x="260604" y="83820"/>
                  </a:cubicBezTo>
                  <a:cubicBezTo>
                    <a:pt x="275781" y="37148"/>
                    <a:pt x="310452" y="9208"/>
                    <a:pt x="364617" y="0"/>
                  </a:cubicBezTo>
                  <a:lnTo>
                    <a:pt x="378428" y="0"/>
                  </a:lnTo>
                  <a:close/>
                  <a:moveTo>
                    <a:pt x="431292" y="266700"/>
                  </a:moveTo>
                  <a:cubicBezTo>
                    <a:pt x="427038" y="258699"/>
                    <a:pt x="424879" y="253365"/>
                    <a:pt x="424815" y="250698"/>
                  </a:cubicBezTo>
                  <a:cubicBezTo>
                    <a:pt x="424498" y="201295"/>
                    <a:pt x="424434" y="163195"/>
                    <a:pt x="424625" y="136398"/>
                  </a:cubicBezTo>
                  <a:cubicBezTo>
                    <a:pt x="424752" y="117031"/>
                    <a:pt x="422529" y="103315"/>
                    <a:pt x="417957" y="95250"/>
                  </a:cubicBezTo>
                  <a:cubicBezTo>
                    <a:pt x="397288" y="58960"/>
                    <a:pt x="346805" y="57531"/>
                    <a:pt x="327470" y="94774"/>
                  </a:cubicBezTo>
                  <a:cubicBezTo>
                    <a:pt x="322771" y="103854"/>
                    <a:pt x="320516" y="120491"/>
                    <a:pt x="320707" y="144685"/>
                  </a:cubicBezTo>
                  <a:cubicBezTo>
                    <a:pt x="320961" y="177133"/>
                    <a:pt x="320897" y="211423"/>
                    <a:pt x="320516" y="247555"/>
                  </a:cubicBezTo>
                  <a:cubicBezTo>
                    <a:pt x="320310" y="265023"/>
                    <a:pt x="306172" y="279119"/>
                    <a:pt x="288703" y="279273"/>
                  </a:cubicBezTo>
                  <a:cubicBezTo>
                    <a:pt x="246221" y="279749"/>
                    <a:pt x="196406" y="274511"/>
                    <a:pt x="162020" y="286607"/>
                  </a:cubicBezTo>
                  <a:cubicBezTo>
                    <a:pt x="119539" y="301466"/>
                    <a:pt x="90869" y="327914"/>
                    <a:pt x="76010" y="365950"/>
                  </a:cubicBezTo>
                  <a:cubicBezTo>
                    <a:pt x="69406" y="382715"/>
                    <a:pt x="66199" y="418592"/>
                    <a:pt x="66389" y="473583"/>
                  </a:cubicBezTo>
                  <a:cubicBezTo>
                    <a:pt x="66580" y="547942"/>
                    <a:pt x="66897" y="614013"/>
                    <a:pt x="67342" y="671798"/>
                  </a:cubicBezTo>
                  <a:cubicBezTo>
                    <a:pt x="67405" y="674783"/>
                    <a:pt x="68929" y="676275"/>
                    <a:pt x="71914" y="676275"/>
                  </a:cubicBezTo>
                  <a:lnTo>
                    <a:pt x="1690307" y="676275"/>
                  </a:lnTo>
                  <a:cubicBezTo>
                    <a:pt x="1693291" y="676275"/>
                    <a:pt x="1694815" y="674783"/>
                    <a:pt x="1694879" y="671798"/>
                  </a:cubicBezTo>
                  <a:cubicBezTo>
                    <a:pt x="1695387" y="629634"/>
                    <a:pt x="1695672" y="561912"/>
                    <a:pt x="1695736" y="468630"/>
                  </a:cubicBezTo>
                  <a:cubicBezTo>
                    <a:pt x="1695736" y="417513"/>
                    <a:pt x="1692656" y="383667"/>
                    <a:pt x="1686497" y="367094"/>
                  </a:cubicBezTo>
                  <a:cubicBezTo>
                    <a:pt x="1667351" y="315659"/>
                    <a:pt x="1617440" y="282416"/>
                    <a:pt x="1561338" y="279845"/>
                  </a:cubicBezTo>
                  <a:cubicBezTo>
                    <a:pt x="1551432" y="279400"/>
                    <a:pt x="1535875" y="279178"/>
                    <a:pt x="1514666" y="279178"/>
                  </a:cubicBezTo>
                  <a:cubicBezTo>
                    <a:pt x="1497017" y="279180"/>
                    <a:pt x="1482636" y="265011"/>
                    <a:pt x="1482376" y="247364"/>
                  </a:cubicBezTo>
                  <a:cubicBezTo>
                    <a:pt x="1482058" y="226536"/>
                    <a:pt x="1481900" y="186373"/>
                    <a:pt x="1481900" y="126873"/>
                  </a:cubicBezTo>
                  <a:cubicBezTo>
                    <a:pt x="1481900" y="102775"/>
                    <a:pt x="1475042" y="86773"/>
                    <a:pt x="1456849" y="74867"/>
                  </a:cubicBezTo>
                  <a:cubicBezTo>
                    <a:pt x="1431703" y="58388"/>
                    <a:pt x="1400842" y="69533"/>
                    <a:pt x="1387221" y="96965"/>
                  </a:cubicBezTo>
                  <a:cubicBezTo>
                    <a:pt x="1383221" y="105029"/>
                    <a:pt x="1381093" y="117189"/>
                    <a:pt x="1380839" y="133445"/>
                  </a:cubicBezTo>
                  <a:cubicBezTo>
                    <a:pt x="1380458" y="158655"/>
                    <a:pt x="1380363" y="196152"/>
                    <a:pt x="1380554" y="245936"/>
                  </a:cubicBezTo>
                  <a:cubicBezTo>
                    <a:pt x="1380606" y="264400"/>
                    <a:pt x="1365681" y="279411"/>
                    <a:pt x="1347216" y="279463"/>
                  </a:cubicBezTo>
                  <a:cubicBezTo>
                    <a:pt x="1347184" y="279463"/>
                    <a:pt x="1347153" y="279463"/>
                    <a:pt x="1347121" y="279463"/>
                  </a:cubicBezTo>
                  <a:cubicBezTo>
                    <a:pt x="995902" y="279591"/>
                    <a:pt x="700088" y="279464"/>
                    <a:pt x="459676" y="279083"/>
                  </a:cubicBezTo>
                  <a:cubicBezTo>
                    <a:pt x="445198" y="279019"/>
                    <a:pt x="435737" y="274892"/>
                    <a:pt x="431292" y="26670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" name="Free-form: Shape 298">
              <a:extLst>
                <a:ext uri="{FF2B5EF4-FFF2-40B4-BE49-F238E27FC236}">
                  <a16:creationId xmlns:a16="http://schemas.microsoft.com/office/drawing/2014/main" id="{63FFE7D4-AD4F-0851-5879-5F3E33DFFF57}"/>
                </a:ext>
              </a:extLst>
            </p:cNvPr>
            <p:cNvSpPr/>
            <p:nvPr/>
          </p:nvSpPr>
          <p:spPr>
            <a:xfrm>
              <a:off x="6761932" y="1934805"/>
              <a:ext cx="1648014" cy="1095597"/>
            </a:xfrm>
            <a:custGeom>
              <a:avLst/>
              <a:gdLst>
                <a:gd name="connsiteX0" fmla="*/ 1762125 w 1762125"/>
                <a:gd name="connsiteY0" fmla="*/ 27030 h 1171458"/>
                <a:gd name="connsiteX1" fmla="*/ 1762125 w 1762125"/>
                <a:gd name="connsiteY1" fmla="*/ 979816 h 1171458"/>
                <a:gd name="connsiteX2" fmla="*/ 1570577 w 1762125"/>
                <a:gd name="connsiteY2" fmla="*/ 1171459 h 1171458"/>
                <a:gd name="connsiteX3" fmla="*/ 192405 w 1762125"/>
                <a:gd name="connsiteY3" fmla="*/ 1171459 h 1171458"/>
                <a:gd name="connsiteX4" fmla="*/ 0 w 1762125"/>
                <a:gd name="connsiteY4" fmla="*/ 979720 h 1171458"/>
                <a:gd name="connsiteX5" fmla="*/ 0 w 1762125"/>
                <a:gd name="connsiteY5" fmla="*/ 34936 h 1171458"/>
                <a:gd name="connsiteX6" fmla="*/ 40481 w 1762125"/>
                <a:gd name="connsiteY6" fmla="*/ 169 h 1171458"/>
                <a:gd name="connsiteX7" fmla="*/ 1724025 w 1762125"/>
                <a:gd name="connsiteY7" fmla="*/ 265 h 1171458"/>
                <a:gd name="connsiteX8" fmla="*/ 1762125 w 1762125"/>
                <a:gd name="connsiteY8" fmla="*/ 27030 h 1171458"/>
                <a:gd name="connsiteX9" fmla="*/ 881158 w 1762125"/>
                <a:gd name="connsiteY9" fmla="*/ 1104784 h 1171458"/>
                <a:gd name="connsiteX10" fmla="*/ 1547717 w 1762125"/>
                <a:gd name="connsiteY10" fmla="*/ 1104403 h 1171458"/>
                <a:gd name="connsiteX11" fmla="*/ 1681543 w 1762125"/>
                <a:gd name="connsiteY11" fmla="*/ 1025155 h 1171458"/>
                <a:gd name="connsiteX12" fmla="*/ 1695641 w 1762125"/>
                <a:gd name="connsiteY12" fmla="*/ 920189 h 1171458"/>
                <a:gd name="connsiteX13" fmla="*/ 1695545 w 1762125"/>
                <a:gd name="connsiteY13" fmla="*/ 69702 h 1171458"/>
                <a:gd name="connsiteX14" fmla="*/ 1692402 w 1762125"/>
                <a:gd name="connsiteY14" fmla="*/ 66654 h 1171458"/>
                <a:gd name="connsiteX15" fmla="*/ 881063 w 1762125"/>
                <a:gd name="connsiteY15" fmla="*/ 66559 h 1171458"/>
                <a:gd name="connsiteX16" fmla="*/ 69628 w 1762125"/>
                <a:gd name="connsiteY16" fmla="*/ 66844 h 1171458"/>
                <a:gd name="connsiteX17" fmla="*/ 66580 w 1762125"/>
                <a:gd name="connsiteY17" fmla="*/ 69892 h 1171458"/>
                <a:gd name="connsiteX18" fmla="*/ 66675 w 1762125"/>
                <a:gd name="connsiteY18" fmla="*/ 920380 h 1171458"/>
                <a:gd name="connsiteX19" fmla="*/ 80772 w 1762125"/>
                <a:gd name="connsiteY19" fmla="*/ 1025345 h 1171458"/>
                <a:gd name="connsiteX20" fmla="*/ 214598 w 1762125"/>
                <a:gd name="connsiteY20" fmla="*/ 1104593 h 1171458"/>
                <a:gd name="connsiteX21" fmla="*/ 881158 w 1762125"/>
                <a:gd name="connsiteY21" fmla="*/ 1104784 h 1171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762125" h="1171458">
                  <a:moveTo>
                    <a:pt x="1762125" y="27030"/>
                  </a:moveTo>
                  <a:lnTo>
                    <a:pt x="1762125" y="979816"/>
                  </a:lnTo>
                  <a:cubicBezTo>
                    <a:pt x="1746250" y="1091766"/>
                    <a:pt x="1682401" y="1155647"/>
                    <a:pt x="1570577" y="1171459"/>
                  </a:cubicBezTo>
                  <a:lnTo>
                    <a:pt x="192405" y="1171459"/>
                  </a:lnTo>
                  <a:cubicBezTo>
                    <a:pt x="80074" y="1156092"/>
                    <a:pt x="15939" y="1092179"/>
                    <a:pt x="0" y="979720"/>
                  </a:cubicBezTo>
                  <a:lnTo>
                    <a:pt x="0" y="34936"/>
                  </a:lnTo>
                  <a:cubicBezTo>
                    <a:pt x="1207" y="11758"/>
                    <a:pt x="14700" y="169"/>
                    <a:pt x="40481" y="169"/>
                  </a:cubicBezTo>
                  <a:cubicBezTo>
                    <a:pt x="601694" y="-85"/>
                    <a:pt x="1162876" y="-53"/>
                    <a:pt x="1724025" y="265"/>
                  </a:cubicBezTo>
                  <a:cubicBezTo>
                    <a:pt x="1744282" y="265"/>
                    <a:pt x="1756982" y="9186"/>
                    <a:pt x="1762125" y="27030"/>
                  </a:cubicBezTo>
                  <a:close/>
                  <a:moveTo>
                    <a:pt x="881158" y="1104784"/>
                  </a:moveTo>
                  <a:cubicBezTo>
                    <a:pt x="1239933" y="1104720"/>
                    <a:pt x="1462119" y="1104593"/>
                    <a:pt x="1547717" y="1104403"/>
                  </a:cubicBezTo>
                  <a:cubicBezTo>
                    <a:pt x="1612995" y="1104276"/>
                    <a:pt x="1657604" y="1077860"/>
                    <a:pt x="1681543" y="1025155"/>
                  </a:cubicBezTo>
                  <a:cubicBezTo>
                    <a:pt x="1691132" y="1004136"/>
                    <a:pt x="1695831" y="969148"/>
                    <a:pt x="1695641" y="920189"/>
                  </a:cubicBezTo>
                  <a:cubicBezTo>
                    <a:pt x="1695577" y="886344"/>
                    <a:pt x="1695545" y="602848"/>
                    <a:pt x="1695545" y="69702"/>
                  </a:cubicBezTo>
                  <a:cubicBezTo>
                    <a:pt x="1695545" y="68019"/>
                    <a:pt x="1694138" y="66654"/>
                    <a:pt x="1692402" y="66654"/>
                  </a:cubicBezTo>
                  <a:cubicBezTo>
                    <a:pt x="1422083" y="66590"/>
                    <a:pt x="1151636" y="66559"/>
                    <a:pt x="881063" y="66559"/>
                  </a:cubicBezTo>
                  <a:cubicBezTo>
                    <a:pt x="610489" y="66559"/>
                    <a:pt x="340011" y="66654"/>
                    <a:pt x="69628" y="66844"/>
                  </a:cubicBezTo>
                  <a:cubicBezTo>
                    <a:pt x="67929" y="66895"/>
                    <a:pt x="66579" y="68245"/>
                    <a:pt x="66580" y="69892"/>
                  </a:cubicBezTo>
                  <a:cubicBezTo>
                    <a:pt x="66707" y="603038"/>
                    <a:pt x="66739" y="886534"/>
                    <a:pt x="66675" y="920380"/>
                  </a:cubicBezTo>
                  <a:cubicBezTo>
                    <a:pt x="66485" y="969338"/>
                    <a:pt x="71184" y="1004327"/>
                    <a:pt x="80772" y="1025345"/>
                  </a:cubicBezTo>
                  <a:cubicBezTo>
                    <a:pt x="104711" y="1078050"/>
                    <a:pt x="149320" y="1104466"/>
                    <a:pt x="214598" y="1104593"/>
                  </a:cubicBezTo>
                  <a:cubicBezTo>
                    <a:pt x="300196" y="1104784"/>
                    <a:pt x="522383" y="1104847"/>
                    <a:pt x="881158" y="1104784"/>
                  </a:cubicBezTo>
                  <a:close/>
                </a:path>
              </a:pathLst>
            </a:custGeom>
            <a:solidFill>
              <a:schemeClr val="tx2"/>
            </a:solidFill>
            <a:ln w="9525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sp>
        <p:nvSpPr>
          <p:cNvPr id="24" name="TextBox 23">
            <a:extLst>
              <a:ext uri="{FF2B5EF4-FFF2-40B4-BE49-F238E27FC236}">
                <a16:creationId xmlns:a16="http://schemas.microsoft.com/office/drawing/2014/main" id="{305A0209-4558-B8E6-0269-434DEFD06CE0}"/>
              </a:ext>
            </a:extLst>
          </p:cNvPr>
          <p:cNvSpPr txBox="1"/>
          <p:nvPr/>
        </p:nvSpPr>
        <p:spPr>
          <a:xfrm>
            <a:off x="1840558" y="4465807"/>
            <a:ext cx="186858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dirty="0"/>
              <a:t>Applications open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C12C57BE-02C1-7FA3-B657-262ECC75BDBF}"/>
              </a:ext>
            </a:extLst>
          </p:cNvPr>
          <p:cNvSpPr txBox="1"/>
          <p:nvPr/>
        </p:nvSpPr>
        <p:spPr>
          <a:xfrm>
            <a:off x="2206911" y="3429997"/>
            <a:ext cx="113588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b="1" dirty="0"/>
              <a:t>18 August</a:t>
            </a:r>
          </a:p>
          <a:p>
            <a:pPr algn="ctr"/>
            <a:r>
              <a:rPr lang="en-GB" b="1" dirty="0"/>
              <a:t>2025</a:t>
            </a:r>
          </a:p>
        </p:txBody>
      </p:sp>
    </p:spTree>
    <p:extLst>
      <p:ext uri="{BB962C8B-B14F-4D97-AF65-F5344CB8AC3E}">
        <p14:creationId xmlns:p14="http://schemas.microsoft.com/office/powerpoint/2010/main" val="107758036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FDB366A-4D6B-D409-7506-F15E0F985E3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7</a:t>
            </a:fld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4E48BD8-0A56-0EB5-F371-34D35D536B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stage credits</a:t>
            </a:r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E4987F5-376F-820A-98FE-D73402FE9DE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Full terms and conditions apply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99840B1-2B75-FAAD-E047-41CCDECEF9BC}"/>
              </a:ext>
            </a:extLst>
          </p:cNvPr>
          <p:cNvSpPr txBox="1"/>
          <p:nvPr/>
        </p:nvSpPr>
        <p:spPr>
          <a:xfrm>
            <a:off x="7651117" y="2760407"/>
            <a:ext cx="3820548" cy="20005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3200" dirty="0"/>
              <a:t>Get up to 20% postage credit for up to 1m </a:t>
            </a:r>
            <a:r>
              <a:rPr lang="en-GB" sz="2800" dirty="0"/>
              <a:t>incremental advertising mail item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1415283-7EB2-EEE7-9B24-464A91B073CF}"/>
              </a:ext>
            </a:extLst>
          </p:cNvPr>
          <p:cNvSpPr txBox="1"/>
          <p:nvPr/>
        </p:nvSpPr>
        <p:spPr>
          <a:xfrm>
            <a:off x="6593572" y="1640726"/>
            <a:ext cx="1619354" cy="11079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6600" b="1" dirty="0">
                <a:solidFill>
                  <a:schemeClr val="accent1"/>
                </a:solidFill>
                <a:latin typeface="+mj-lt"/>
              </a:rPr>
              <a:t>20</a:t>
            </a:r>
            <a:r>
              <a:rPr lang="en-GB" sz="4400" b="1" dirty="0">
                <a:latin typeface="+mj-lt"/>
              </a:rPr>
              <a:t>%</a:t>
            </a:r>
            <a:endParaRPr lang="en-GB" sz="6600" b="1" dirty="0">
              <a:latin typeface="+mj-lt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E4737A41-3FAF-7988-E213-D98BB4490F2A}"/>
              </a:ext>
            </a:extLst>
          </p:cNvPr>
          <p:cNvGrpSpPr/>
          <p:nvPr/>
        </p:nvGrpSpPr>
        <p:grpSpPr>
          <a:xfrm>
            <a:off x="6616320" y="2696836"/>
            <a:ext cx="1004329" cy="1005431"/>
            <a:chOff x="6711028" y="4025932"/>
            <a:chExt cx="761165" cy="762000"/>
          </a:xfrm>
        </p:grpSpPr>
        <p:sp>
          <p:nvSpPr>
            <p:cNvPr id="9" name="Discount">
              <a:extLst>
                <a:ext uri="{FF2B5EF4-FFF2-40B4-BE49-F238E27FC236}">
                  <a16:creationId xmlns:a16="http://schemas.microsoft.com/office/drawing/2014/main" id="{F1AC10D4-F743-BC27-661F-48E0B1AACDDA}"/>
                </a:ext>
              </a:extLst>
            </p:cNvPr>
            <p:cNvSpPr>
              <a:spLocks noChangeAspect="1" noEditPoints="1"/>
            </p:cNvSpPr>
            <p:nvPr>
              <p:custDataLst>
                <p:tags r:id="rId1"/>
              </p:custDataLst>
            </p:nvPr>
          </p:nvSpPr>
          <p:spPr bwMode="auto">
            <a:xfrm>
              <a:off x="6711028" y="4025932"/>
              <a:ext cx="761165" cy="762000"/>
            </a:xfrm>
            <a:custGeom>
              <a:avLst/>
              <a:gdLst>
                <a:gd name="T0" fmla="*/ 188 w 197"/>
                <a:gd name="T1" fmla="*/ 0 h 197"/>
                <a:gd name="T2" fmla="*/ 113 w 197"/>
                <a:gd name="T3" fmla="*/ 0 h 197"/>
                <a:gd name="T4" fmla="*/ 97 w 197"/>
                <a:gd name="T5" fmla="*/ 7 h 197"/>
                <a:gd name="T6" fmla="*/ 4 w 197"/>
                <a:gd name="T7" fmla="*/ 100 h 197"/>
                <a:gd name="T8" fmla="*/ 4 w 197"/>
                <a:gd name="T9" fmla="*/ 113 h 197"/>
                <a:gd name="T10" fmla="*/ 84 w 197"/>
                <a:gd name="T11" fmla="*/ 193 h 197"/>
                <a:gd name="T12" fmla="*/ 97 w 197"/>
                <a:gd name="T13" fmla="*/ 193 h 197"/>
                <a:gd name="T14" fmla="*/ 190 w 197"/>
                <a:gd name="T15" fmla="*/ 100 h 197"/>
                <a:gd name="T16" fmla="*/ 197 w 197"/>
                <a:gd name="T17" fmla="*/ 84 h 197"/>
                <a:gd name="T18" fmla="*/ 197 w 197"/>
                <a:gd name="T19" fmla="*/ 9 h 197"/>
                <a:gd name="T20" fmla="*/ 188 w 197"/>
                <a:gd name="T21" fmla="*/ 0 h 197"/>
                <a:gd name="T22" fmla="*/ 141 w 197"/>
                <a:gd name="T23" fmla="*/ 75 h 197"/>
                <a:gd name="T24" fmla="*/ 122 w 197"/>
                <a:gd name="T25" fmla="*/ 56 h 197"/>
                <a:gd name="T26" fmla="*/ 141 w 197"/>
                <a:gd name="T27" fmla="*/ 38 h 197"/>
                <a:gd name="T28" fmla="*/ 160 w 197"/>
                <a:gd name="T29" fmla="*/ 56 h 197"/>
                <a:gd name="T30" fmla="*/ 141 w 197"/>
                <a:gd name="T31" fmla="*/ 75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7" h="197">
                  <a:moveTo>
                    <a:pt x="188" y="0"/>
                  </a:moveTo>
                  <a:lnTo>
                    <a:pt x="113" y="0"/>
                  </a:lnTo>
                  <a:cubicBezTo>
                    <a:pt x="107" y="0"/>
                    <a:pt x="100" y="3"/>
                    <a:pt x="97" y="7"/>
                  </a:cubicBezTo>
                  <a:lnTo>
                    <a:pt x="4" y="100"/>
                  </a:lnTo>
                  <a:cubicBezTo>
                    <a:pt x="0" y="103"/>
                    <a:pt x="0" y="109"/>
                    <a:pt x="4" y="113"/>
                  </a:cubicBezTo>
                  <a:lnTo>
                    <a:pt x="84" y="193"/>
                  </a:lnTo>
                  <a:cubicBezTo>
                    <a:pt x="88" y="197"/>
                    <a:pt x="94" y="197"/>
                    <a:pt x="97" y="193"/>
                  </a:cubicBezTo>
                  <a:lnTo>
                    <a:pt x="190" y="100"/>
                  </a:lnTo>
                  <a:cubicBezTo>
                    <a:pt x="194" y="97"/>
                    <a:pt x="197" y="90"/>
                    <a:pt x="197" y="84"/>
                  </a:cubicBezTo>
                  <a:lnTo>
                    <a:pt x="197" y="9"/>
                  </a:lnTo>
                  <a:cubicBezTo>
                    <a:pt x="197" y="4"/>
                    <a:pt x="193" y="0"/>
                    <a:pt x="188" y="0"/>
                  </a:cubicBezTo>
                  <a:close/>
                  <a:moveTo>
                    <a:pt x="141" y="75"/>
                  </a:moveTo>
                  <a:cubicBezTo>
                    <a:pt x="130" y="75"/>
                    <a:pt x="122" y="67"/>
                    <a:pt x="122" y="56"/>
                  </a:cubicBezTo>
                  <a:cubicBezTo>
                    <a:pt x="122" y="46"/>
                    <a:pt x="130" y="38"/>
                    <a:pt x="141" y="38"/>
                  </a:cubicBezTo>
                  <a:cubicBezTo>
                    <a:pt x="151" y="38"/>
                    <a:pt x="160" y="46"/>
                    <a:pt x="160" y="56"/>
                  </a:cubicBezTo>
                  <a:cubicBezTo>
                    <a:pt x="160" y="67"/>
                    <a:pt x="151" y="75"/>
                    <a:pt x="141" y="75"/>
                  </a:cubicBezTo>
                  <a:close/>
                </a:path>
              </a:pathLst>
            </a:custGeom>
            <a:noFill/>
            <a:ln w="3810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10" name="Percent">
              <a:extLst>
                <a:ext uri="{FF2B5EF4-FFF2-40B4-BE49-F238E27FC236}">
                  <a16:creationId xmlns:a16="http://schemas.microsoft.com/office/drawing/2014/main" id="{195F1E20-9E88-277C-E110-725DD899C46B}"/>
                </a:ext>
              </a:extLst>
            </p:cNvPr>
            <p:cNvGrpSpPr>
              <a:grpSpLocks noChangeAspect="1"/>
            </p:cNvGrpSpPr>
            <p:nvPr>
              <p:custDataLst>
                <p:tags r:id="rId2"/>
              </p:custDataLst>
            </p:nvPr>
          </p:nvGrpSpPr>
          <p:grpSpPr bwMode="auto">
            <a:xfrm>
              <a:off x="6932801" y="4321306"/>
              <a:ext cx="220807" cy="249670"/>
              <a:chOff x="171" y="161"/>
              <a:chExt cx="153" cy="173"/>
            </a:xfrm>
            <a:noFill/>
          </p:grpSpPr>
          <p:sp>
            <p:nvSpPr>
              <p:cNvPr id="11" name="Percent">
                <a:extLst>
                  <a:ext uri="{FF2B5EF4-FFF2-40B4-BE49-F238E27FC236}">
                    <a16:creationId xmlns:a16="http://schemas.microsoft.com/office/drawing/2014/main" id="{CBF1B916-BE1A-2676-D4C7-B4B95FACB163}"/>
                  </a:ext>
                </a:extLst>
              </p:cNvPr>
              <p:cNvSpPr>
                <a:spLocks/>
              </p:cNvSpPr>
              <p:nvPr>
                <p:custDataLst>
                  <p:tags r:id="rId3"/>
                </p:custDataLst>
              </p:nvPr>
            </p:nvSpPr>
            <p:spPr bwMode="auto">
              <a:xfrm>
                <a:off x="187" y="161"/>
                <a:ext cx="121" cy="173"/>
              </a:xfrm>
              <a:custGeom>
                <a:avLst/>
                <a:gdLst>
                  <a:gd name="T0" fmla="*/ 853 w 889"/>
                  <a:gd name="T1" fmla="*/ 19 h 1272"/>
                  <a:gd name="T2" fmla="*/ 767 w 889"/>
                  <a:gd name="T3" fmla="*/ 37 h 1272"/>
                  <a:gd name="T4" fmla="*/ 19 w 889"/>
                  <a:gd name="T5" fmla="*/ 1177 h 1272"/>
                  <a:gd name="T6" fmla="*/ 36 w 889"/>
                  <a:gd name="T7" fmla="*/ 1262 h 1272"/>
                  <a:gd name="T8" fmla="*/ 71 w 889"/>
                  <a:gd name="T9" fmla="*/ 1272 h 1272"/>
                  <a:gd name="T10" fmla="*/ 122 w 889"/>
                  <a:gd name="T11" fmla="*/ 1244 h 1272"/>
                  <a:gd name="T12" fmla="*/ 870 w 889"/>
                  <a:gd name="T13" fmla="*/ 105 h 1272"/>
                  <a:gd name="T14" fmla="*/ 853 w 889"/>
                  <a:gd name="T15" fmla="*/ 19 h 12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89" h="1272">
                    <a:moveTo>
                      <a:pt x="853" y="19"/>
                    </a:moveTo>
                    <a:cubicBezTo>
                      <a:pt x="824" y="0"/>
                      <a:pt x="786" y="8"/>
                      <a:pt x="767" y="37"/>
                    </a:cubicBezTo>
                    <a:lnTo>
                      <a:pt x="19" y="1177"/>
                    </a:lnTo>
                    <a:cubicBezTo>
                      <a:pt x="0" y="1205"/>
                      <a:pt x="8" y="1243"/>
                      <a:pt x="36" y="1262"/>
                    </a:cubicBezTo>
                    <a:cubicBezTo>
                      <a:pt x="47" y="1269"/>
                      <a:pt x="59" y="1272"/>
                      <a:pt x="71" y="1272"/>
                    </a:cubicBezTo>
                    <a:cubicBezTo>
                      <a:pt x="91" y="1272"/>
                      <a:pt x="110" y="1263"/>
                      <a:pt x="122" y="1244"/>
                    </a:cubicBezTo>
                    <a:lnTo>
                      <a:pt x="870" y="105"/>
                    </a:lnTo>
                    <a:cubicBezTo>
                      <a:pt x="889" y="76"/>
                      <a:pt x="881" y="38"/>
                      <a:pt x="853" y="19"/>
                    </a:cubicBezTo>
                    <a:close/>
                  </a:path>
                </a:pathLst>
              </a:custGeom>
              <a:grpFill/>
              <a:ln w="38100">
                <a:solidFill>
                  <a:schemeClr val="accent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" name="Percent">
                <a:extLst>
                  <a:ext uri="{FF2B5EF4-FFF2-40B4-BE49-F238E27FC236}">
                    <a16:creationId xmlns:a16="http://schemas.microsoft.com/office/drawing/2014/main" id="{D20CBC5B-3E28-76F4-8974-2179FF4D6EB0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4"/>
                </p:custDataLst>
              </p:nvPr>
            </p:nvSpPr>
            <p:spPr bwMode="auto">
              <a:xfrm>
                <a:off x="171" y="184"/>
                <a:ext cx="54" cy="54"/>
              </a:xfrm>
              <a:prstGeom prst="ellipse">
                <a:avLst/>
              </a:prstGeom>
              <a:grpFill/>
              <a:ln w="38100">
                <a:solidFill>
                  <a:schemeClr val="accent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" name="Percent">
                <a:extLst>
                  <a:ext uri="{FF2B5EF4-FFF2-40B4-BE49-F238E27FC236}">
                    <a16:creationId xmlns:a16="http://schemas.microsoft.com/office/drawing/2014/main" id="{4BB73BF7-AD67-F42F-CC66-0DF1EB67F180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5"/>
                </p:custDataLst>
              </p:nvPr>
            </p:nvSpPr>
            <p:spPr bwMode="auto">
              <a:xfrm>
                <a:off x="270" y="258"/>
                <a:ext cx="54" cy="55"/>
              </a:xfrm>
              <a:prstGeom prst="ellipse">
                <a:avLst/>
              </a:prstGeom>
              <a:grpFill/>
              <a:ln w="38100">
                <a:solidFill>
                  <a:schemeClr val="accent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5583625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6F4CDD-8B55-F0A4-D2FA-2BFFF8E929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e APPLICATION AND CREDIT proces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C89AD00-3452-12CE-DC1F-EAA43123F8E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Offer open for postings mailed by 28</a:t>
            </a:r>
            <a:r>
              <a:rPr lang="en-GB" baseline="30000" dirty="0"/>
              <a:t>th</a:t>
            </a:r>
            <a:r>
              <a:rPr lang="en-GB" dirty="0"/>
              <a:t> November 2025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E0E62A9-A6FC-9A86-71AD-978D1B92DC1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8</a:t>
            </a:fld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C8071C5-54E5-7CA8-0248-F577EFA3964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Full terms and conditions apply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954D7529-DF39-24CF-54FF-A94DBC0E8E74}"/>
              </a:ext>
            </a:extLst>
          </p:cNvPr>
          <p:cNvSpPr>
            <a:spLocks noChangeAspect="1"/>
          </p:cNvSpPr>
          <p:nvPr/>
        </p:nvSpPr>
        <p:spPr>
          <a:xfrm>
            <a:off x="8617167" y="2197134"/>
            <a:ext cx="624548" cy="624548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E08BE03A-1D17-0A82-029A-A1832C7F8CC9}"/>
              </a:ext>
            </a:extLst>
          </p:cNvPr>
          <p:cNvSpPr>
            <a:spLocks noChangeAspect="1"/>
          </p:cNvSpPr>
          <p:nvPr/>
        </p:nvSpPr>
        <p:spPr>
          <a:xfrm>
            <a:off x="1216085" y="2122302"/>
            <a:ext cx="624548" cy="624548"/>
          </a:xfrm>
          <a:prstGeom prst="ellips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Block Arc 8">
            <a:extLst>
              <a:ext uri="{FF2B5EF4-FFF2-40B4-BE49-F238E27FC236}">
                <a16:creationId xmlns:a16="http://schemas.microsoft.com/office/drawing/2014/main" id="{9A62ADB0-AEEF-FDE7-9553-F91D2B4725FC}"/>
              </a:ext>
            </a:extLst>
          </p:cNvPr>
          <p:cNvSpPr>
            <a:spLocks noChangeAspect="1"/>
          </p:cNvSpPr>
          <p:nvPr/>
        </p:nvSpPr>
        <p:spPr>
          <a:xfrm>
            <a:off x="414224" y="2445202"/>
            <a:ext cx="2207250" cy="2207251"/>
          </a:xfrm>
          <a:prstGeom prst="blockArc">
            <a:avLst>
              <a:gd name="adj1" fmla="val 9000000"/>
              <a:gd name="adj2" fmla="val 1800000"/>
              <a:gd name="adj3" fmla="val 3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Block Arc 9">
            <a:extLst>
              <a:ext uri="{FF2B5EF4-FFF2-40B4-BE49-F238E27FC236}">
                <a16:creationId xmlns:a16="http://schemas.microsoft.com/office/drawing/2014/main" id="{4348843F-5ED8-6E42-39BC-25BCB06513E8}"/>
              </a:ext>
            </a:extLst>
          </p:cNvPr>
          <p:cNvSpPr>
            <a:spLocks noChangeAspect="1"/>
          </p:cNvSpPr>
          <p:nvPr/>
        </p:nvSpPr>
        <p:spPr>
          <a:xfrm flipV="1">
            <a:off x="2266140" y="3517759"/>
            <a:ext cx="2207250" cy="2207251"/>
          </a:xfrm>
          <a:prstGeom prst="blockArc">
            <a:avLst>
              <a:gd name="adj1" fmla="val 9000000"/>
              <a:gd name="adj2" fmla="val 1800000"/>
              <a:gd name="adj3" fmla="val 3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Block Arc 10">
            <a:extLst>
              <a:ext uri="{FF2B5EF4-FFF2-40B4-BE49-F238E27FC236}">
                <a16:creationId xmlns:a16="http://schemas.microsoft.com/office/drawing/2014/main" id="{921900D6-2826-D88B-FC7F-82710A9B0A9E}"/>
              </a:ext>
            </a:extLst>
          </p:cNvPr>
          <p:cNvSpPr>
            <a:spLocks noChangeAspect="1"/>
          </p:cNvSpPr>
          <p:nvPr/>
        </p:nvSpPr>
        <p:spPr>
          <a:xfrm>
            <a:off x="4120020" y="2445202"/>
            <a:ext cx="2207250" cy="2207251"/>
          </a:xfrm>
          <a:prstGeom prst="blockArc">
            <a:avLst>
              <a:gd name="adj1" fmla="val 9000000"/>
              <a:gd name="adj2" fmla="val 1800000"/>
              <a:gd name="adj3" fmla="val 300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Block Arc 11">
            <a:extLst>
              <a:ext uri="{FF2B5EF4-FFF2-40B4-BE49-F238E27FC236}">
                <a16:creationId xmlns:a16="http://schemas.microsoft.com/office/drawing/2014/main" id="{77FC33E1-99BA-ABFD-54A3-DBF7F5C1755E}"/>
              </a:ext>
            </a:extLst>
          </p:cNvPr>
          <p:cNvSpPr>
            <a:spLocks noChangeAspect="1"/>
          </p:cNvSpPr>
          <p:nvPr/>
        </p:nvSpPr>
        <p:spPr>
          <a:xfrm flipV="1">
            <a:off x="5977077" y="3512996"/>
            <a:ext cx="2207250" cy="2207251"/>
          </a:xfrm>
          <a:prstGeom prst="blockArc">
            <a:avLst>
              <a:gd name="adj1" fmla="val 9000000"/>
              <a:gd name="adj2" fmla="val 1800000"/>
              <a:gd name="adj3" fmla="val 3000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Block Arc 12">
            <a:extLst>
              <a:ext uri="{FF2B5EF4-FFF2-40B4-BE49-F238E27FC236}">
                <a16:creationId xmlns:a16="http://schemas.microsoft.com/office/drawing/2014/main" id="{4F96552D-24B0-9F65-0B0C-0305CA008D30}"/>
              </a:ext>
            </a:extLst>
          </p:cNvPr>
          <p:cNvSpPr>
            <a:spLocks noChangeAspect="1"/>
          </p:cNvSpPr>
          <p:nvPr/>
        </p:nvSpPr>
        <p:spPr>
          <a:xfrm>
            <a:off x="7836324" y="2445202"/>
            <a:ext cx="2207250" cy="2207251"/>
          </a:xfrm>
          <a:prstGeom prst="blockArc">
            <a:avLst>
              <a:gd name="adj1" fmla="val 9000000"/>
              <a:gd name="adj2" fmla="val 1800000"/>
              <a:gd name="adj3" fmla="val 300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59B7BA27-A5F4-B03D-87DD-8728F048BB90}"/>
              </a:ext>
            </a:extLst>
          </p:cNvPr>
          <p:cNvSpPr>
            <a:spLocks noChangeAspect="1"/>
          </p:cNvSpPr>
          <p:nvPr/>
        </p:nvSpPr>
        <p:spPr>
          <a:xfrm>
            <a:off x="3016429" y="5366323"/>
            <a:ext cx="624548" cy="6245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D8453148-466B-E675-4738-4CBC3556FFE4}"/>
              </a:ext>
            </a:extLst>
          </p:cNvPr>
          <p:cNvSpPr>
            <a:spLocks noChangeAspect="1"/>
          </p:cNvSpPr>
          <p:nvPr/>
        </p:nvSpPr>
        <p:spPr>
          <a:xfrm>
            <a:off x="4890351" y="2164342"/>
            <a:ext cx="624548" cy="62454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678A4320-BD04-6EC6-8FDC-7A66DD81C13F}"/>
              </a:ext>
            </a:extLst>
          </p:cNvPr>
          <p:cNvSpPr>
            <a:spLocks noChangeAspect="1"/>
          </p:cNvSpPr>
          <p:nvPr/>
        </p:nvSpPr>
        <p:spPr>
          <a:xfrm>
            <a:off x="6816324" y="5326321"/>
            <a:ext cx="624548" cy="624548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Paper_plane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E86BBEFF-A48F-D73E-5CEE-298CBEE42CD8}"/>
              </a:ext>
            </a:extLst>
          </p:cNvPr>
          <p:cNvSpPr>
            <a:spLocks noChangeAspect="1"/>
          </p:cNvSpPr>
          <p:nvPr>
            <p:custDataLst>
              <p:tags r:id="rId1"/>
            </p:custDataLst>
          </p:nvPr>
        </p:nvSpPr>
        <p:spPr bwMode="auto">
          <a:xfrm>
            <a:off x="5011448" y="2286098"/>
            <a:ext cx="421847" cy="370825"/>
          </a:xfrm>
          <a:custGeom>
            <a:avLst/>
            <a:gdLst>
              <a:gd name="T0" fmla="*/ 29 w 1232"/>
              <a:gd name="T1" fmla="*/ 8 h 1080"/>
              <a:gd name="T2" fmla="*/ 4 w 1232"/>
              <a:gd name="T3" fmla="*/ 29 h 1080"/>
              <a:gd name="T4" fmla="*/ 234 w 1232"/>
              <a:gd name="T5" fmla="*/ 1055 h 1080"/>
              <a:gd name="T6" fmla="*/ 271 w 1232"/>
              <a:gd name="T7" fmla="*/ 1069 h 1080"/>
              <a:gd name="T8" fmla="*/ 541 w 1232"/>
              <a:gd name="T9" fmla="*/ 880 h 1080"/>
              <a:gd name="T10" fmla="*/ 590 w 1232"/>
              <a:gd name="T11" fmla="*/ 889 h 1080"/>
              <a:gd name="T12" fmla="*/ 679 w 1232"/>
              <a:gd name="T13" fmla="*/ 1020 h 1080"/>
              <a:gd name="T14" fmla="*/ 711 w 1232"/>
              <a:gd name="T15" fmla="*/ 1016 h 1080"/>
              <a:gd name="T16" fmla="*/ 820 w 1232"/>
              <a:gd name="T17" fmla="*/ 722 h 1080"/>
              <a:gd name="T18" fmla="*/ 810 w 1232"/>
              <a:gd name="T19" fmla="*/ 717 h 1080"/>
              <a:gd name="T20" fmla="*/ 771 w 1232"/>
              <a:gd name="T21" fmla="*/ 765 h 1080"/>
              <a:gd name="T22" fmla="*/ 713 w 1232"/>
              <a:gd name="T23" fmla="*/ 794 h 1080"/>
              <a:gd name="T24" fmla="*/ 699 w 1232"/>
              <a:gd name="T25" fmla="*/ 794 h 1080"/>
              <a:gd name="T26" fmla="*/ 641 w 1232"/>
              <a:gd name="T27" fmla="*/ 767 h 1080"/>
              <a:gd name="T28" fmla="*/ 201 w 1232"/>
              <a:gd name="T29" fmla="*/ 211 h 1080"/>
              <a:gd name="T30" fmla="*/ 207 w 1232"/>
              <a:gd name="T31" fmla="*/ 205 h 1080"/>
              <a:gd name="T32" fmla="*/ 804 w 1232"/>
              <a:gd name="T33" fmla="*/ 667 h 1080"/>
              <a:gd name="T34" fmla="*/ 865 w 1232"/>
              <a:gd name="T35" fmla="*/ 677 h 1080"/>
              <a:gd name="T36" fmla="*/ 1213 w 1232"/>
              <a:gd name="T37" fmla="*/ 554 h 1080"/>
              <a:gd name="T38" fmla="*/ 1214 w 1232"/>
              <a:gd name="T39" fmla="*/ 527 h 1080"/>
              <a:gd name="T40" fmla="*/ 29 w 1232"/>
              <a:gd name="T41" fmla="*/ 8 h 10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1232" h="1080">
                <a:moveTo>
                  <a:pt x="29" y="8"/>
                </a:moveTo>
                <a:cubicBezTo>
                  <a:pt x="11" y="0"/>
                  <a:pt x="0" y="10"/>
                  <a:pt x="4" y="29"/>
                </a:cubicBezTo>
                <a:lnTo>
                  <a:pt x="234" y="1055"/>
                </a:lnTo>
                <a:cubicBezTo>
                  <a:pt x="239" y="1074"/>
                  <a:pt x="255" y="1080"/>
                  <a:pt x="271" y="1069"/>
                </a:cubicBezTo>
                <a:lnTo>
                  <a:pt x="541" y="880"/>
                </a:lnTo>
                <a:cubicBezTo>
                  <a:pt x="557" y="869"/>
                  <a:pt x="579" y="873"/>
                  <a:pt x="590" y="889"/>
                </a:cubicBezTo>
                <a:lnTo>
                  <a:pt x="679" y="1020"/>
                </a:lnTo>
                <a:cubicBezTo>
                  <a:pt x="689" y="1036"/>
                  <a:pt x="704" y="1035"/>
                  <a:pt x="711" y="1016"/>
                </a:cubicBezTo>
                <a:lnTo>
                  <a:pt x="820" y="722"/>
                </a:lnTo>
                <a:cubicBezTo>
                  <a:pt x="826" y="704"/>
                  <a:pt x="822" y="702"/>
                  <a:pt x="810" y="717"/>
                </a:cubicBezTo>
                <a:lnTo>
                  <a:pt x="771" y="765"/>
                </a:lnTo>
                <a:cubicBezTo>
                  <a:pt x="758" y="780"/>
                  <a:pt x="732" y="793"/>
                  <a:pt x="713" y="794"/>
                </a:cubicBezTo>
                <a:lnTo>
                  <a:pt x="699" y="794"/>
                </a:lnTo>
                <a:cubicBezTo>
                  <a:pt x="679" y="794"/>
                  <a:pt x="653" y="782"/>
                  <a:pt x="641" y="767"/>
                </a:cubicBezTo>
                <a:lnTo>
                  <a:pt x="201" y="211"/>
                </a:lnTo>
                <a:cubicBezTo>
                  <a:pt x="189" y="196"/>
                  <a:pt x="191" y="193"/>
                  <a:pt x="207" y="205"/>
                </a:cubicBezTo>
                <a:lnTo>
                  <a:pt x="804" y="667"/>
                </a:lnTo>
                <a:cubicBezTo>
                  <a:pt x="819" y="679"/>
                  <a:pt x="847" y="684"/>
                  <a:pt x="865" y="677"/>
                </a:cubicBezTo>
                <a:lnTo>
                  <a:pt x="1213" y="554"/>
                </a:lnTo>
                <a:cubicBezTo>
                  <a:pt x="1231" y="547"/>
                  <a:pt x="1232" y="535"/>
                  <a:pt x="1214" y="527"/>
                </a:cubicBezTo>
                <a:lnTo>
                  <a:pt x="29" y="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18" name="Plane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D583C147-C6AC-81A4-E598-06E7FCA781E8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auto">
          <a:xfrm>
            <a:off x="7999164" y="5786751"/>
            <a:ext cx="383028" cy="9691"/>
            <a:chOff x="2478" y="2188"/>
            <a:chExt cx="2648" cy="67"/>
          </a:xfrm>
          <a:solidFill>
            <a:schemeClr val="accent3"/>
          </a:solidFill>
        </p:grpSpPr>
        <p:sp>
          <p:nvSpPr>
            <p:cNvPr id="19" name="Freeform 487">
              <a:extLst>
                <a:ext uri="{FF2B5EF4-FFF2-40B4-BE49-F238E27FC236}">
                  <a16:creationId xmlns:a16="http://schemas.microsoft.com/office/drawing/2014/main" id="{A56CF35B-558D-2911-8326-5D4BA747AB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478" y="2188"/>
              <a:ext cx="0" cy="31"/>
            </a:xfrm>
            <a:custGeom>
              <a:avLst/>
              <a:gdLst>
                <a:gd name="T0" fmla="*/ 0 h 8"/>
                <a:gd name="T1" fmla="*/ 8 h 8"/>
                <a:gd name="T2" fmla="*/ 6 h 8"/>
                <a:gd name="T3" fmla="*/ 0 h 8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8">
                  <a:moveTo>
                    <a:pt x="0" y="0"/>
                  </a:moveTo>
                  <a:lnTo>
                    <a:pt x="0" y="8"/>
                  </a:lnTo>
                  <a:cubicBezTo>
                    <a:pt x="0" y="7"/>
                    <a:pt x="0" y="7"/>
                    <a:pt x="0" y="6"/>
                  </a:cubicBezTo>
                  <a:cubicBezTo>
                    <a:pt x="0" y="4"/>
                    <a:pt x="0" y="2"/>
                    <a:pt x="0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490">
              <a:extLst>
                <a:ext uri="{FF2B5EF4-FFF2-40B4-BE49-F238E27FC236}">
                  <a16:creationId xmlns:a16="http://schemas.microsoft.com/office/drawing/2014/main" id="{08964823-FE7D-71BF-DF35-C2CB5B71101F}"/>
                </a:ext>
              </a:extLst>
            </p:cNvPr>
            <p:cNvSpPr>
              <a:spLocks/>
            </p:cNvSpPr>
            <p:nvPr/>
          </p:nvSpPr>
          <p:spPr bwMode="auto">
            <a:xfrm>
              <a:off x="5122" y="2211"/>
              <a:ext cx="4" cy="44"/>
            </a:xfrm>
            <a:custGeom>
              <a:avLst/>
              <a:gdLst>
                <a:gd name="T0" fmla="*/ 0 w 1"/>
                <a:gd name="T1" fmla="*/ 8 h 11"/>
                <a:gd name="T2" fmla="*/ 1 w 1"/>
                <a:gd name="T3" fmla="*/ 11 h 11"/>
                <a:gd name="T4" fmla="*/ 1 w 1"/>
                <a:gd name="T5" fmla="*/ 2 h 11"/>
                <a:gd name="T6" fmla="*/ 1 w 1"/>
                <a:gd name="T7" fmla="*/ 0 h 11"/>
                <a:gd name="T8" fmla="*/ 0 w 1"/>
                <a:gd name="T9" fmla="*/ 8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11">
                  <a:moveTo>
                    <a:pt x="0" y="8"/>
                  </a:moveTo>
                  <a:cubicBezTo>
                    <a:pt x="0" y="9"/>
                    <a:pt x="1" y="10"/>
                    <a:pt x="1" y="11"/>
                  </a:cubicBezTo>
                  <a:cubicBezTo>
                    <a:pt x="1" y="8"/>
                    <a:pt x="1" y="5"/>
                    <a:pt x="1" y="2"/>
                  </a:cubicBezTo>
                  <a:cubicBezTo>
                    <a:pt x="1" y="1"/>
                    <a:pt x="1" y="1"/>
                    <a:pt x="1" y="0"/>
                  </a:cubicBezTo>
                  <a:cubicBezTo>
                    <a:pt x="1" y="3"/>
                    <a:pt x="1" y="5"/>
                    <a:pt x="0" y="8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 491">
              <a:extLst>
                <a:ext uri="{FF2B5EF4-FFF2-40B4-BE49-F238E27FC236}">
                  <a16:creationId xmlns:a16="http://schemas.microsoft.com/office/drawing/2014/main" id="{8A89AD6C-6C68-6BAB-10B1-2513684478F8}"/>
                </a:ext>
              </a:extLst>
            </p:cNvPr>
            <p:cNvSpPr>
              <a:spLocks/>
            </p:cNvSpPr>
            <p:nvPr/>
          </p:nvSpPr>
          <p:spPr bwMode="auto">
            <a:xfrm>
              <a:off x="2478" y="2211"/>
              <a:ext cx="0" cy="44"/>
            </a:xfrm>
            <a:custGeom>
              <a:avLst/>
              <a:gdLst>
                <a:gd name="T0" fmla="*/ 0 h 11"/>
                <a:gd name="T1" fmla="*/ 2 h 11"/>
                <a:gd name="T2" fmla="*/ 11 h 11"/>
                <a:gd name="T3" fmla="*/ 8 h 11"/>
                <a:gd name="T4" fmla="*/ 0 h 1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11">
                  <a:moveTo>
                    <a:pt x="0" y="0"/>
                  </a:moveTo>
                  <a:cubicBezTo>
                    <a:pt x="0" y="1"/>
                    <a:pt x="0" y="1"/>
                    <a:pt x="0" y="2"/>
                  </a:cubicBezTo>
                  <a:cubicBezTo>
                    <a:pt x="0" y="5"/>
                    <a:pt x="0" y="8"/>
                    <a:pt x="0" y="11"/>
                  </a:cubicBezTo>
                  <a:cubicBezTo>
                    <a:pt x="0" y="10"/>
                    <a:pt x="0" y="9"/>
                    <a:pt x="0" y="8"/>
                  </a:cubicBezTo>
                  <a:cubicBezTo>
                    <a:pt x="0" y="5"/>
                    <a:pt x="0" y="3"/>
                    <a:pt x="0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22" name="Graphic 21" descr="Chat RTL">
            <a:extLst>
              <a:ext uri="{FF2B5EF4-FFF2-40B4-BE49-F238E27FC236}">
                <a16:creationId xmlns:a16="http://schemas.microsoft.com/office/drawing/2014/main" id="{DF090772-A189-80C9-D709-7D8D153B822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270281" y="2186624"/>
            <a:ext cx="516155" cy="516155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88A8697A-B5DB-301C-B28D-88980E2F9D80}"/>
              </a:ext>
            </a:extLst>
          </p:cNvPr>
          <p:cNvSpPr/>
          <p:nvPr/>
        </p:nvSpPr>
        <p:spPr>
          <a:xfrm>
            <a:off x="543959" y="2771731"/>
            <a:ext cx="1930922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en-GB" sz="1400" b="1" dirty="0"/>
              <a:t>GET IN TOUCH</a:t>
            </a:r>
          </a:p>
          <a:p>
            <a:pPr lvl="0" algn="ctr">
              <a:defRPr/>
            </a:pPr>
            <a:r>
              <a:rPr lang="en-GB" sz="1400" dirty="0">
                <a:solidFill>
                  <a:prstClr val="black">
                    <a:lumMod val="85000"/>
                    <a:lumOff val="15000"/>
                  </a:prstClr>
                </a:solidFill>
              </a:rPr>
              <a:t>Speak to your Account Manager to make sure you are applying for the best incentive for your needs and to check that you meet the requirements.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EF8B7B21-D582-AD1F-4A4B-52534695C694}"/>
              </a:ext>
            </a:extLst>
          </p:cNvPr>
          <p:cNvSpPr txBox="1"/>
          <p:nvPr/>
        </p:nvSpPr>
        <p:spPr>
          <a:xfrm>
            <a:off x="2461277" y="3994485"/>
            <a:ext cx="1782904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en-GB" sz="1400" b="1" dirty="0"/>
              <a:t>APPLY ONLINE</a:t>
            </a:r>
          </a:p>
          <a:p>
            <a:pPr lvl="0" algn="ctr">
              <a:defRPr/>
            </a:pPr>
            <a:r>
              <a:rPr lang="en-GB" sz="1400" dirty="0"/>
              <a:t>Use the link to the online application.  Your application can also be completed by an agent.</a:t>
            </a:r>
          </a:p>
        </p:txBody>
      </p:sp>
      <p:pic>
        <p:nvPicPr>
          <p:cNvPr id="25" name="Graphic 24" descr="Internet">
            <a:extLst>
              <a:ext uri="{FF2B5EF4-FFF2-40B4-BE49-F238E27FC236}">
                <a16:creationId xmlns:a16="http://schemas.microsoft.com/office/drawing/2014/main" id="{FE31E77F-19D8-0B7B-8684-7B1AF4B9EEB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075097" y="5413812"/>
            <a:ext cx="516155" cy="516155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C29D4217-8B06-8730-8CE3-A0C42DAA104E}"/>
              </a:ext>
            </a:extLst>
          </p:cNvPr>
          <p:cNvSpPr txBox="1"/>
          <p:nvPr/>
        </p:nvSpPr>
        <p:spPr>
          <a:xfrm>
            <a:off x="4227469" y="2885453"/>
            <a:ext cx="2003771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GB" sz="1400" b="1" dirty="0"/>
              <a:t>WE’LL GET IN TOUCH</a:t>
            </a:r>
          </a:p>
          <a:p>
            <a:pPr algn="ctr">
              <a:defRPr/>
            </a:pPr>
            <a:r>
              <a:rPr lang="en-GB" sz="1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To discuss your application and check all the detail with you.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5C72E5B7-A2ED-515E-74FE-8FAC5EE5EC48}"/>
              </a:ext>
            </a:extLst>
          </p:cNvPr>
          <p:cNvSpPr txBox="1"/>
          <p:nvPr/>
        </p:nvSpPr>
        <p:spPr>
          <a:xfrm>
            <a:off x="6098662" y="4534324"/>
            <a:ext cx="1992725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GB" sz="1400" b="1" dirty="0"/>
              <a:t>POST YOUR MAILINGS</a:t>
            </a:r>
            <a:endParaRPr lang="en-GB" sz="1400" dirty="0"/>
          </a:p>
          <a:p>
            <a:pPr algn="ctr">
              <a:defRPr/>
            </a:pPr>
            <a:r>
              <a:rPr lang="en-GB" sz="1400" dirty="0">
                <a:solidFill>
                  <a:srgbClr val="000000">
                    <a:lumMod val="85000"/>
                    <a:lumOff val="15000"/>
                  </a:srgbClr>
                </a:solidFill>
              </a:rPr>
              <a:t>Start posting your volume.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F7F7D9C7-1379-A1FA-96FD-E2D43A4A0EE6}"/>
              </a:ext>
            </a:extLst>
          </p:cNvPr>
          <p:cNvSpPr txBox="1"/>
          <p:nvPr/>
        </p:nvSpPr>
        <p:spPr>
          <a:xfrm>
            <a:off x="9814795" y="3612037"/>
            <a:ext cx="1975346" cy="16004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GB" sz="1400" b="1" dirty="0"/>
              <a:t>REDEEM YOUR </a:t>
            </a:r>
          </a:p>
          <a:p>
            <a:pPr algn="ctr">
              <a:defRPr/>
            </a:pPr>
            <a:r>
              <a:rPr lang="en-GB" sz="1400" b="1" dirty="0"/>
              <a:t>CREDIT</a:t>
            </a:r>
          </a:p>
          <a:p>
            <a:pPr algn="ctr"/>
            <a:r>
              <a:rPr lang="en-GB" sz="1400" dirty="0"/>
              <a:t>Receive your credit as a voucher or have it paid into a Royal Mail postage account. Credit vouchers are valid for 12 months.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CB8164D4-3E9F-7EFF-62C9-DE9F57C1E975}"/>
              </a:ext>
            </a:extLst>
          </p:cNvPr>
          <p:cNvSpPr txBox="1"/>
          <p:nvPr/>
        </p:nvSpPr>
        <p:spPr>
          <a:xfrm>
            <a:off x="7989307" y="2832618"/>
            <a:ext cx="1923017" cy="16004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GB" sz="1400" b="1" dirty="0"/>
              <a:t>APPLY FOR YOUR POSTAGE CREDIT</a:t>
            </a:r>
            <a:endParaRPr lang="en-GB" sz="1400" dirty="0"/>
          </a:p>
          <a:p>
            <a:pPr algn="ctr">
              <a:defRPr/>
            </a:pPr>
            <a:r>
              <a:rPr lang="en-GB" sz="1400" dirty="0">
                <a:solidFill>
                  <a:srgbClr val="000000">
                    <a:lumMod val="85000"/>
                    <a:lumOff val="15000"/>
                  </a:srgbClr>
                </a:solidFill>
              </a:rPr>
              <a:t>When you have completed your activity you will need to apply to Royal Mail for your credit</a:t>
            </a:r>
          </a:p>
        </p:txBody>
      </p:sp>
      <p:sp>
        <p:nvSpPr>
          <p:cNvPr id="30" name="Block Arc 29">
            <a:extLst>
              <a:ext uri="{FF2B5EF4-FFF2-40B4-BE49-F238E27FC236}">
                <a16:creationId xmlns:a16="http://schemas.microsoft.com/office/drawing/2014/main" id="{0852CE3E-F4DF-1771-60F3-3FE0E80AC9DC}"/>
              </a:ext>
            </a:extLst>
          </p:cNvPr>
          <p:cNvSpPr>
            <a:spLocks noChangeAspect="1"/>
          </p:cNvSpPr>
          <p:nvPr/>
        </p:nvSpPr>
        <p:spPr>
          <a:xfrm flipV="1">
            <a:off x="9694062" y="3515685"/>
            <a:ext cx="2207250" cy="2207251"/>
          </a:xfrm>
          <a:prstGeom prst="blockArc">
            <a:avLst>
              <a:gd name="adj1" fmla="val 9000000"/>
              <a:gd name="adj2" fmla="val 1800000"/>
              <a:gd name="adj3" fmla="val 3000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31" name="Graphic 30" descr="Envelope">
            <a:extLst>
              <a:ext uri="{FF2B5EF4-FFF2-40B4-BE49-F238E27FC236}">
                <a16:creationId xmlns:a16="http://schemas.microsoft.com/office/drawing/2014/main" id="{FDC25DE2-3043-2A21-E67A-0423678BA920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6891475" y="5412396"/>
            <a:ext cx="469232" cy="469232"/>
          </a:xfrm>
          <a:prstGeom prst="rect">
            <a:avLst/>
          </a:prstGeom>
        </p:spPr>
      </p:pic>
      <p:sp>
        <p:nvSpPr>
          <p:cNvPr id="32" name="Oval 31">
            <a:extLst>
              <a:ext uri="{FF2B5EF4-FFF2-40B4-BE49-F238E27FC236}">
                <a16:creationId xmlns:a16="http://schemas.microsoft.com/office/drawing/2014/main" id="{B73105F3-E549-8116-68E9-EBFFCBC74C0E}"/>
              </a:ext>
            </a:extLst>
          </p:cNvPr>
          <p:cNvSpPr>
            <a:spLocks noChangeAspect="1"/>
          </p:cNvSpPr>
          <p:nvPr/>
        </p:nvSpPr>
        <p:spPr>
          <a:xfrm>
            <a:off x="10543140" y="5362902"/>
            <a:ext cx="624548" cy="624548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33" name="Plus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EE3FEE62-5B03-A82A-30D6-545A175807CD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8726087" y="2304543"/>
            <a:ext cx="406708" cy="407907"/>
            <a:chOff x="50" y="50"/>
            <a:chExt cx="339" cy="340"/>
          </a:xfrm>
          <a:solidFill>
            <a:schemeClr val="bg1"/>
          </a:solidFill>
        </p:grpSpPr>
        <p:sp>
          <p:nvSpPr>
            <p:cNvPr id="34" name="Plus">
              <a:extLst>
                <a:ext uri="{FF2B5EF4-FFF2-40B4-BE49-F238E27FC236}">
                  <a16:creationId xmlns:a16="http://schemas.microsoft.com/office/drawing/2014/main" id="{37FEA078-30EC-E45C-694B-9F9BA7002704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135" y="135"/>
              <a:ext cx="169" cy="170"/>
            </a:xfrm>
            <a:custGeom>
              <a:avLst/>
              <a:gdLst>
                <a:gd name="T0" fmla="*/ 50 w 100"/>
                <a:gd name="T1" fmla="*/ 100 h 100"/>
                <a:gd name="T2" fmla="*/ 63 w 100"/>
                <a:gd name="T3" fmla="*/ 88 h 100"/>
                <a:gd name="T4" fmla="*/ 63 w 100"/>
                <a:gd name="T5" fmla="*/ 63 h 100"/>
                <a:gd name="T6" fmla="*/ 88 w 100"/>
                <a:gd name="T7" fmla="*/ 63 h 100"/>
                <a:gd name="T8" fmla="*/ 100 w 100"/>
                <a:gd name="T9" fmla="*/ 50 h 100"/>
                <a:gd name="T10" fmla="*/ 88 w 100"/>
                <a:gd name="T11" fmla="*/ 38 h 100"/>
                <a:gd name="T12" fmla="*/ 63 w 100"/>
                <a:gd name="T13" fmla="*/ 38 h 100"/>
                <a:gd name="T14" fmla="*/ 63 w 100"/>
                <a:gd name="T15" fmla="*/ 13 h 100"/>
                <a:gd name="T16" fmla="*/ 50 w 100"/>
                <a:gd name="T17" fmla="*/ 0 h 100"/>
                <a:gd name="T18" fmla="*/ 38 w 100"/>
                <a:gd name="T19" fmla="*/ 13 h 100"/>
                <a:gd name="T20" fmla="*/ 38 w 100"/>
                <a:gd name="T21" fmla="*/ 38 h 100"/>
                <a:gd name="T22" fmla="*/ 13 w 100"/>
                <a:gd name="T23" fmla="*/ 38 h 100"/>
                <a:gd name="T24" fmla="*/ 0 w 100"/>
                <a:gd name="T25" fmla="*/ 50 h 100"/>
                <a:gd name="T26" fmla="*/ 13 w 100"/>
                <a:gd name="T27" fmla="*/ 63 h 100"/>
                <a:gd name="T28" fmla="*/ 38 w 100"/>
                <a:gd name="T29" fmla="*/ 63 h 100"/>
                <a:gd name="T30" fmla="*/ 38 w 100"/>
                <a:gd name="T31" fmla="*/ 88 h 100"/>
                <a:gd name="T32" fmla="*/ 50 w 100"/>
                <a:gd name="T33" fmla="*/ 10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0" h="100">
                  <a:moveTo>
                    <a:pt x="50" y="100"/>
                  </a:moveTo>
                  <a:cubicBezTo>
                    <a:pt x="57" y="100"/>
                    <a:pt x="63" y="94"/>
                    <a:pt x="63" y="88"/>
                  </a:cubicBezTo>
                  <a:lnTo>
                    <a:pt x="63" y="63"/>
                  </a:lnTo>
                  <a:lnTo>
                    <a:pt x="88" y="63"/>
                  </a:lnTo>
                  <a:cubicBezTo>
                    <a:pt x="94" y="63"/>
                    <a:pt x="100" y="57"/>
                    <a:pt x="100" y="50"/>
                  </a:cubicBezTo>
                  <a:cubicBezTo>
                    <a:pt x="100" y="43"/>
                    <a:pt x="94" y="38"/>
                    <a:pt x="88" y="38"/>
                  </a:cubicBezTo>
                  <a:lnTo>
                    <a:pt x="63" y="38"/>
                  </a:lnTo>
                  <a:lnTo>
                    <a:pt x="63" y="13"/>
                  </a:lnTo>
                  <a:cubicBezTo>
                    <a:pt x="63" y="6"/>
                    <a:pt x="57" y="0"/>
                    <a:pt x="50" y="0"/>
                  </a:cubicBezTo>
                  <a:cubicBezTo>
                    <a:pt x="43" y="0"/>
                    <a:pt x="38" y="6"/>
                    <a:pt x="38" y="13"/>
                  </a:cubicBezTo>
                  <a:lnTo>
                    <a:pt x="38" y="38"/>
                  </a:lnTo>
                  <a:lnTo>
                    <a:pt x="13" y="38"/>
                  </a:lnTo>
                  <a:cubicBezTo>
                    <a:pt x="6" y="38"/>
                    <a:pt x="0" y="43"/>
                    <a:pt x="0" y="50"/>
                  </a:cubicBezTo>
                  <a:cubicBezTo>
                    <a:pt x="0" y="57"/>
                    <a:pt x="6" y="63"/>
                    <a:pt x="13" y="63"/>
                  </a:cubicBezTo>
                  <a:lnTo>
                    <a:pt x="38" y="63"/>
                  </a:lnTo>
                  <a:lnTo>
                    <a:pt x="38" y="88"/>
                  </a:lnTo>
                  <a:cubicBezTo>
                    <a:pt x="38" y="94"/>
                    <a:pt x="43" y="100"/>
                    <a:pt x="50" y="10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" name="Plus">
              <a:extLst>
                <a:ext uri="{FF2B5EF4-FFF2-40B4-BE49-F238E27FC236}">
                  <a16:creationId xmlns:a16="http://schemas.microsoft.com/office/drawing/2014/main" id="{1AEDD5D4-1CA8-E154-0B36-766D2C8E38B1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50" y="50"/>
              <a:ext cx="339" cy="340"/>
            </a:xfrm>
            <a:custGeom>
              <a:avLst/>
              <a:gdLst>
                <a:gd name="T0" fmla="*/ 100 w 200"/>
                <a:gd name="T1" fmla="*/ 0 h 200"/>
                <a:gd name="T2" fmla="*/ 0 w 200"/>
                <a:gd name="T3" fmla="*/ 100 h 200"/>
                <a:gd name="T4" fmla="*/ 100 w 200"/>
                <a:gd name="T5" fmla="*/ 200 h 200"/>
                <a:gd name="T6" fmla="*/ 151 w 200"/>
                <a:gd name="T7" fmla="*/ 186 h 200"/>
                <a:gd name="T8" fmla="*/ 156 w 200"/>
                <a:gd name="T9" fmla="*/ 169 h 200"/>
                <a:gd name="T10" fmla="*/ 139 w 200"/>
                <a:gd name="T11" fmla="*/ 164 h 200"/>
                <a:gd name="T12" fmla="*/ 100 w 200"/>
                <a:gd name="T13" fmla="*/ 175 h 200"/>
                <a:gd name="T14" fmla="*/ 25 w 200"/>
                <a:gd name="T15" fmla="*/ 100 h 200"/>
                <a:gd name="T16" fmla="*/ 100 w 200"/>
                <a:gd name="T17" fmla="*/ 25 h 200"/>
                <a:gd name="T18" fmla="*/ 175 w 200"/>
                <a:gd name="T19" fmla="*/ 100 h 200"/>
                <a:gd name="T20" fmla="*/ 164 w 200"/>
                <a:gd name="T21" fmla="*/ 139 h 200"/>
                <a:gd name="T22" fmla="*/ 169 w 200"/>
                <a:gd name="T23" fmla="*/ 156 h 200"/>
                <a:gd name="T24" fmla="*/ 186 w 200"/>
                <a:gd name="T25" fmla="*/ 151 h 200"/>
                <a:gd name="T26" fmla="*/ 200 w 200"/>
                <a:gd name="T27" fmla="*/ 100 h 200"/>
                <a:gd name="T28" fmla="*/ 100 w 200"/>
                <a:gd name="T29" fmla="*/ 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0" h="200">
                  <a:moveTo>
                    <a:pt x="100" y="0"/>
                  </a:moveTo>
                  <a:cubicBezTo>
                    <a:pt x="45" y="0"/>
                    <a:pt x="0" y="45"/>
                    <a:pt x="0" y="100"/>
                  </a:cubicBezTo>
                  <a:cubicBezTo>
                    <a:pt x="0" y="155"/>
                    <a:pt x="45" y="200"/>
                    <a:pt x="100" y="200"/>
                  </a:cubicBezTo>
                  <a:cubicBezTo>
                    <a:pt x="118" y="200"/>
                    <a:pt x="136" y="195"/>
                    <a:pt x="151" y="186"/>
                  </a:cubicBezTo>
                  <a:cubicBezTo>
                    <a:pt x="157" y="182"/>
                    <a:pt x="159" y="174"/>
                    <a:pt x="156" y="169"/>
                  </a:cubicBezTo>
                  <a:cubicBezTo>
                    <a:pt x="152" y="163"/>
                    <a:pt x="144" y="161"/>
                    <a:pt x="139" y="164"/>
                  </a:cubicBezTo>
                  <a:cubicBezTo>
                    <a:pt x="127" y="171"/>
                    <a:pt x="114" y="175"/>
                    <a:pt x="100" y="175"/>
                  </a:cubicBezTo>
                  <a:cubicBezTo>
                    <a:pt x="59" y="175"/>
                    <a:pt x="25" y="141"/>
                    <a:pt x="25" y="100"/>
                  </a:cubicBezTo>
                  <a:cubicBezTo>
                    <a:pt x="25" y="59"/>
                    <a:pt x="59" y="25"/>
                    <a:pt x="100" y="25"/>
                  </a:cubicBezTo>
                  <a:cubicBezTo>
                    <a:pt x="141" y="25"/>
                    <a:pt x="175" y="59"/>
                    <a:pt x="175" y="100"/>
                  </a:cubicBezTo>
                  <a:cubicBezTo>
                    <a:pt x="175" y="114"/>
                    <a:pt x="171" y="127"/>
                    <a:pt x="164" y="139"/>
                  </a:cubicBezTo>
                  <a:cubicBezTo>
                    <a:pt x="161" y="144"/>
                    <a:pt x="163" y="152"/>
                    <a:pt x="169" y="156"/>
                  </a:cubicBezTo>
                  <a:cubicBezTo>
                    <a:pt x="174" y="159"/>
                    <a:pt x="182" y="157"/>
                    <a:pt x="186" y="151"/>
                  </a:cubicBezTo>
                  <a:cubicBezTo>
                    <a:pt x="195" y="136"/>
                    <a:pt x="200" y="118"/>
                    <a:pt x="200" y="100"/>
                  </a:cubicBezTo>
                  <a:cubicBezTo>
                    <a:pt x="200" y="45"/>
                    <a:pt x="155" y="0"/>
                    <a:pt x="10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36" name="Accounting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E43B14C4-C1D4-8F39-3855-392989E1461B}"/>
              </a:ext>
            </a:extLst>
          </p:cNvPr>
          <p:cNvGrpSpPr>
            <a:grpSpLocks noChangeAspect="1"/>
          </p:cNvGrpSpPr>
          <p:nvPr>
            <p:custDataLst>
              <p:tags r:id="rId4"/>
            </p:custDataLst>
          </p:nvPr>
        </p:nvGrpSpPr>
        <p:grpSpPr>
          <a:xfrm>
            <a:off x="10647090" y="5477695"/>
            <a:ext cx="482002" cy="407907"/>
            <a:chOff x="2687638" y="138112"/>
            <a:chExt cx="981075" cy="830263"/>
          </a:xfrm>
          <a:solidFill>
            <a:schemeClr val="tx1"/>
          </a:solidFill>
        </p:grpSpPr>
        <p:sp>
          <p:nvSpPr>
            <p:cNvPr id="37" name="Freeform 105">
              <a:extLst>
                <a:ext uri="{FF2B5EF4-FFF2-40B4-BE49-F238E27FC236}">
                  <a16:creationId xmlns:a16="http://schemas.microsoft.com/office/drawing/2014/main" id="{0272BB4D-BD74-1E86-EE68-AF6C1EBE545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0338" y="138112"/>
              <a:ext cx="968375" cy="514350"/>
            </a:xfrm>
            <a:custGeom>
              <a:avLst/>
              <a:gdLst>
                <a:gd name="T0" fmla="*/ 1260 w 1272"/>
                <a:gd name="T1" fmla="*/ 388 h 675"/>
                <a:gd name="T2" fmla="*/ 595 w 1272"/>
                <a:gd name="T3" fmla="*/ 4 h 675"/>
                <a:gd name="T4" fmla="*/ 570 w 1272"/>
                <a:gd name="T5" fmla="*/ 4 h 675"/>
                <a:gd name="T6" fmla="*/ 13 w 1272"/>
                <a:gd name="T7" fmla="*/ 328 h 675"/>
                <a:gd name="T8" fmla="*/ 0 w 1272"/>
                <a:gd name="T9" fmla="*/ 350 h 675"/>
                <a:gd name="T10" fmla="*/ 13 w 1272"/>
                <a:gd name="T11" fmla="*/ 371 h 675"/>
                <a:gd name="T12" fmla="*/ 234 w 1272"/>
                <a:gd name="T13" fmla="*/ 499 h 675"/>
                <a:gd name="T14" fmla="*/ 284 w 1272"/>
                <a:gd name="T15" fmla="*/ 470 h 675"/>
                <a:gd name="T16" fmla="*/ 75 w 1272"/>
                <a:gd name="T17" fmla="*/ 350 h 675"/>
                <a:gd name="T18" fmla="*/ 583 w 1272"/>
                <a:gd name="T19" fmla="*/ 55 h 675"/>
                <a:gd name="T20" fmla="*/ 1197 w 1272"/>
                <a:gd name="T21" fmla="*/ 409 h 675"/>
                <a:gd name="T22" fmla="*/ 791 w 1272"/>
                <a:gd name="T23" fmla="*/ 646 h 675"/>
                <a:gd name="T24" fmla="*/ 841 w 1272"/>
                <a:gd name="T25" fmla="*/ 675 h 675"/>
                <a:gd name="T26" fmla="*/ 1260 w 1272"/>
                <a:gd name="T27" fmla="*/ 431 h 675"/>
                <a:gd name="T28" fmla="*/ 1272 w 1272"/>
                <a:gd name="T29" fmla="*/ 409 h 675"/>
                <a:gd name="T30" fmla="*/ 1260 w 1272"/>
                <a:gd name="T31" fmla="*/ 388 h 6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72" h="675">
                  <a:moveTo>
                    <a:pt x="1260" y="388"/>
                  </a:moveTo>
                  <a:lnTo>
                    <a:pt x="595" y="4"/>
                  </a:lnTo>
                  <a:cubicBezTo>
                    <a:pt x="588" y="0"/>
                    <a:pt x="578" y="0"/>
                    <a:pt x="570" y="4"/>
                  </a:cubicBezTo>
                  <a:lnTo>
                    <a:pt x="13" y="328"/>
                  </a:lnTo>
                  <a:cubicBezTo>
                    <a:pt x="5" y="333"/>
                    <a:pt x="0" y="341"/>
                    <a:pt x="0" y="350"/>
                  </a:cubicBezTo>
                  <a:cubicBezTo>
                    <a:pt x="0" y="359"/>
                    <a:pt x="5" y="367"/>
                    <a:pt x="13" y="371"/>
                  </a:cubicBezTo>
                  <a:lnTo>
                    <a:pt x="234" y="499"/>
                  </a:lnTo>
                  <a:lnTo>
                    <a:pt x="284" y="470"/>
                  </a:lnTo>
                  <a:lnTo>
                    <a:pt x="75" y="350"/>
                  </a:lnTo>
                  <a:lnTo>
                    <a:pt x="583" y="55"/>
                  </a:lnTo>
                  <a:lnTo>
                    <a:pt x="1197" y="409"/>
                  </a:lnTo>
                  <a:lnTo>
                    <a:pt x="791" y="646"/>
                  </a:lnTo>
                  <a:lnTo>
                    <a:pt x="841" y="675"/>
                  </a:lnTo>
                  <a:lnTo>
                    <a:pt x="1260" y="431"/>
                  </a:lnTo>
                  <a:cubicBezTo>
                    <a:pt x="1268" y="427"/>
                    <a:pt x="1272" y="418"/>
                    <a:pt x="1272" y="409"/>
                  </a:cubicBezTo>
                  <a:cubicBezTo>
                    <a:pt x="1272" y="400"/>
                    <a:pt x="1267" y="392"/>
                    <a:pt x="1260" y="388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" name="Freeform 106">
              <a:extLst>
                <a:ext uri="{FF2B5EF4-FFF2-40B4-BE49-F238E27FC236}">
                  <a16:creationId xmlns:a16="http://schemas.microsoft.com/office/drawing/2014/main" id="{4A985E68-26EF-90A0-CAB5-A8BF36119DF1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1651" y="296862"/>
              <a:ext cx="296863" cy="111125"/>
            </a:xfrm>
            <a:custGeom>
              <a:avLst/>
              <a:gdLst>
                <a:gd name="T0" fmla="*/ 388 w 388"/>
                <a:gd name="T1" fmla="*/ 45 h 146"/>
                <a:gd name="T2" fmla="*/ 186 w 388"/>
                <a:gd name="T3" fmla="*/ 0 h 146"/>
                <a:gd name="T4" fmla="*/ 0 w 388"/>
                <a:gd name="T5" fmla="*/ 37 h 146"/>
                <a:gd name="T6" fmla="*/ 188 w 388"/>
                <a:gd name="T7" fmla="*/ 146 h 146"/>
                <a:gd name="T8" fmla="*/ 388 w 388"/>
                <a:gd name="T9" fmla="*/ 45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8" h="146">
                  <a:moveTo>
                    <a:pt x="388" y="45"/>
                  </a:moveTo>
                  <a:cubicBezTo>
                    <a:pt x="333" y="16"/>
                    <a:pt x="262" y="0"/>
                    <a:pt x="186" y="0"/>
                  </a:cubicBezTo>
                  <a:cubicBezTo>
                    <a:pt x="118" y="0"/>
                    <a:pt x="52" y="13"/>
                    <a:pt x="0" y="37"/>
                  </a:cubicBezTo>
                  <a:lnTo>
                    <a:pt x="188" y="146"/>
                  </a:lnTo>
                  <a:lnTo>
                    <a:pt x="388" y="4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" name="Freeform 107">
              <a:extLst>
                <a:ext uri="{FF2B5EF4-FFF2-40B4-BE49-F238E27FC236}">
                  <a16:creationId xmlns:a16="http://schemas.microsoft.com/office/drawing/2014/main" id="{F02F9B5F-5332-34FD-102A-B7B35CC38128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350837"/>
              <a:ext cx="204788" cy="196850"/>
            </a:xfrm>
            <a:custGeom>
              <a:avLst/>
              <a:gdLst>
                <a:gd name="T0" fmla="*/ 81 w 267"/>
                <a:gd name="T1" fmla="*/ 257 h 257"/>
                <a:gd name="T2" fmla="*/ 163 w 267"/>
                <a:gd name="T3" fmla="*/ 227 h 257"/>
                <a:gd name="T4" fmla="*/ 264 w 267"/>
                <a:gd name="T5" fmla="*/ 109 h 257"/>
                <a:gd name="T6" fmla="*/ 209 w 267"/>
                <a:gd name="T7" fmla="*/ 0 h 257"/>
                <a:gd name="T8" fmla="*/ 0 w 267"/>
                <a:gd name="T9" fmla="*/ 105 h 257"/>
                <a:gd name="T10" fmla="*/ 81 w 267"/>
                <a:gd name="T11" fmla="*/ 257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7" h="257">
                  <a:moveTo>
                    <a:pt x="81" y="257"/>
                  </a:moveTo>
                  <a:cubicBezTo>
                    <a:pt x="111" y="250"/>
                    <a:pt x="138" y="240"/>
                    <a:pt x="163" y="227"/>
                  </a:cubicBezTo>
                  <a:cubicBezTo>
                    <a:pt x="223" y="197"/>
                    <a:pt x="259" y="155"/>
                    <a:pt x="264" y="109"/>
                  </a:cubicBezTo>
                  <a:cubicBezTo>
                    <a:pt x="267" y="70"/>
                    <a:pt x="248" y="32"/>
                    <a:pt x="209" y="0"/>
                  </a:cubicBezTo>
                  <a:lnTo>
                    <a:pt x="0" y="105"/>
                  </a:lnTo>
                  <a:lnTo>
                    <a:pt x="81" y="25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" name="Freeform 108">
              <a:extLst>
                <a:ext uri="{FF2B5EF4-FFF2-40B4-BE49-F238E27FC236}">
                  <a16:creationId xmlns:a16="http://schemas.microsoft.com/office/drawing/2014/main" id="{6849CACB-3F5C-1891-33C4-01EAD6C022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3226" y="344487"/>
              <a:ext cx="285750" cy="212725"/>
            </a:xfrm>
            <a:custGeom>
              <a:avLst/>
              <a:gdLst>
                <a:gd name="T0" fmla="*/ 317 w 375"/>
                <a:gd name="T1" fmla="*/ 279 h 279"/>
                <a:gd name="T2" fmla="*/ 375 w 375"/>
                <a:gd name="T3" fmla="*/ 275 h 279"/>
                <a:gd name="T4" fmla="*/ 291 w 375"/>
                <a:gd name="T5" fmla="*/ 118 h 279"/>
                <a:gd name="T6" fmla="*/ 85 w 375"/>
                <a:gd name="T7" fmla="*/ 0 h 279"/>
                <a:gd name="T8" fmla="*/ 32 w 375"/>
                <a:gd name="T9" fmla="*/ 159 h 279"/>
                <a:gd name="T10" fmla="*/ 154 w 375"/>
                <a:gd name="T11" fmla="*/ 155 h 279"/>
                <a:gd name="T12" fmla="*/ 304 w 375"/>
                <a:gd name="T13" fmla="*/ 277 h 279"/>
                <a:gd name="T14" fmla="*/ 317 w 375"/>
                <a:gd name="T15" fmla="*/ 279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75" h="279">
                  <a:moveTo>
                    <a:pt x="317" y="279"/>
                  </a:moveTo>
                  <a:cubicBezTo>
                    <a:pt x="336" y="279"/>
                    <a:pt x="356" y="278"/>
                    <a:pt x="375" y="275"/>
                  </a:cubicBezTo>
                  <a:lnTo>
                    <a:pt x="291" y="118"/>
                  </a:lnTo>
                  <a:lnTo>
                    <a:pt x="85" y="0"/>
                  </a:lnTo>
                  <a:cubicBezTo>
                    <a:pt x="21" y="44"/>
                    <a:pt x="0" y="101"/>
                    <a:pt x="32" y="159"/>
                  </a:cubicBezTo>
                  <a:cubicBezTo>
                    <a:pt x="72" y="133"/>
                    <a:pt x="119" y="133"/>
                    <a:pt x="154" y="155"/>
                  </a:cubicBezTo>
                  <a:lnTo>
                    <a:pt x="304" y="277"/>
                  </a:lnTo>
                  <a:cubicBezTo>
                    <a:pt x="304" y="277"/>
                    <a:pt x="307" y="279"/>
                    <a:pt x="317" y="279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" name="Freeform 109">
              <a:extLst>
                <a:ext uri="{FF2B5EF4-FFF2-40B4-BE49-F238E27FC236}">
                  <a16:creationId xmlns:a16="http://schemas.microsoft.com/office/drawing/2014/main" id="{F582A16A-C9AD-09E8-62E0-C94A78D58B7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87638" y="484187"/>
              <a:ext cx="684213" cy="484188"/>
            </a:xfrm>
            <a:custGeom>
              <a:avLst/>
              <a:gdLst>
                <a:gd name="T0" fmla="*/ 848 w 898"/>
                <a:gd name="T1" fmla="*/ 363 h 635"/>
                <a:gd name="T2" fmla="*/ 472 w 898"/>
                <a:gd name="T3" fmla="*/ 580 h 635"/>
                <a:gd name="T4" fmla="*/ 466 w 898"/>
                <a:gd name="T5" fmla="*/ 581 h 635"/>
                <a:gd name="T6" fmla="*/ 459 w 898"/>
                <a:gd name="T7" fmla="*/ 580 h 635"/>
                <a:gd name="T8" fmla="*/ 178 w 898"/>
                <a:gd name="T9" fmla="*/ 417 h 635"/>
                <a:gd name="T10" fmla="*/ 50 w 898"/>
                <a:gd name="T11" fmla="*/ 308 h 635"/>
                <a:gd name="T12" fmla="*/ 50 w 898"/>
                <a:gd name="T13" fmla="*/ 275 h 635"/>
                <a:gd name="T14" fmla="*/ 426 w 898"/>
                <a:gd name="T15" fmla="*/ 58 h 635"/>
                <a:gd name="T16" fmla="*/ 433 w 898"/>
                <a:gd name="T17" fmla="*/ 56 h 635"/>
                <a:gd name="T18" fmla="*/ 438 w 898"/>
                <a:gd name="T19" fmla="*/ 57 h 635"/>
                <a:gd name="T20" fmla="*/ 579 w 898"/>
                <a:gd name="T21" fmla="*/ 174 h 635"/>
                <a:gd name="T22" fmla="*/ 848 w 898"/>
                <a:gd name="T23" fmla="*/ 330 h 635"/>
                <a:gd name="T24" fmla="*/ 848 w 898"/>
                <a:gd name="T25" fmla="*/ 363 h 635"/>
                <a:gd name="T26" fmla="*/ 497 w 898"/>
                <a:gd name="T27" fmla="*/ 623 h 635"/>
                <a:gd name="T28" fmla="*/ 873 w 898"/>
                <a:gd name="T29" fmla="*/ 406 h 635"/>
                <a:gd name="T30" fmla="*/ 898 w 898"/>
                <a:gd name="T31" fmla="*/ 363 h 635"/>
                <a:gd name="T32" fmla="*/ 898 w 898"/>
                <a:gd name="T33" fmla="*/ 330 h 635"/>
                <a:gd name="T34" fmla="*/ 873 w 898"/>
                <a:gd name="T35" fmla="*/ 287 h 635"/>
                <a:gd name="T36" fmla="*/ 608 w 898"/>
                <a:gd name="T37" fmla="*/ 133 h 635"/>
                <a:gd name="T38" fmla="*/ 470 w 898"/>
                <a:gd name="T39" fmla="*/ 19 h 635"/>
                <a:gd name="T40" fmla="*/ 401 w 898"/>
                <a:gd name="T41" fmla="*/ 14 h 635"/>
                <a:gd name="T42" fmla="*/ 25 w 898"/>
                <a:gd name="T43" fmla="*/ 231 h 635"/>
                <a:gd name="T44" fmla="*/ 0 w 898"/>
                <a:gd name="T45" fmla="*/ 274 h 635"/>
                <a:gd name="T46" fmla="*/ 0 w 898"/>
                <a:gd name="T47" fmla="*/ 307 h 635"/>
                <a:gd name="T48" fmla="*/ 18 w 898"/>
                <a:gd name="T49" fmla="*/ 346 h 635"/>
                <a:gd name="T50" fmla="*/ 146 w 898"/>
                <a:gd name="T51" fmla="*/ 455 h 635"/>
                <a:gd name="T52" fmla="*/ 153 w 898"/>
                <a:gd name="T53" fmla="*/ 460 h 635"/>
                <a:gd name="T54" fmla="*/ 434 w 898"/>
                <a:gd name="T55" fmla="*/ 623 h 635"/>
                <a:gd name="T56" fmla="*/ 497 w 898"/>
                <a:gd name="T57" fmla="*/ 623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98" h="635">
                  <a:moveTo>
                    <a:pt x="848" y="363"/>
                  </a:moveTo>
                  <a:lnTo>
                    <a:pt x="472" y="580"/>
                  </a:lnTo>
                  <a:cubicBezTo>
                    <a:pt x="470" y="581"/>
                    <a:pt x="468" y="581"/>
                    <a:pt x="466" y="581"/>
                  </a:cubicBezTo>
                  <a:cubicBezTo>
                    <a:pt x="464" y="581"/>
                    <a:pt x="461" y="581"/>
                    <a:pt x="459" y="580"/>
                  </a:cubicBezTo>
                  <a:lnTo>
                    <a:pt x="178" y="417"/>
                  </a:lnTo>
                  <a:lnTo>
                    <a:pt x="50" y="308"/>
                  </a:lnTo>
                  <a:lnTo>
                    <a:pt x="50" y="275"/>
                  </a:lnTo>
                  <a:lnTo>
                    <a:pt x="426" y="58"/>
                  </a:lnTo>
                  <a:cubicBezTo>
                    <a:pt x="427" y="57"/>
                    <a:pt x="430" y="56"/>
                    <a:pt x="433" y="56"/>
                  </a:cubicBezTo>
                  <a:cubicBezTo>
                    <a:pt x="435" y="56"/>
                    <a:pt x="437" y="56"/>
                    <a:pt x="438" y="57"/>
                  </a:cubicBezTo>
                  <a:lnTo>
                    <a:pt x="579" y="174"/>
                  </a:lnTo>
                  <a:lnTo>
                    <a:pt x="848" y="330"/>
                  </a:lnTo>
                  <a:lnTo>
                    <a:pt x="848" y="363"/>
                  </a:lnTo>
                  <a:close/>
                  <a:moveTo>
                    <a:pt x="497" y="623"/>
                  </a:moveTo>
                  <a:lnTo>
                    <a:pt x="873" y="406"/>
                  </a:lnTo>
                  <a:cubicBezTo>
                    <a:pt x="889" y="397"/>
                    <a:pt x="898" y="380"/>
                    <a:pt x="898" y="363"/>
                  </a:cubicBezTo>
                  <a:lnTo>
                    <a:pt x="898" y="330"/>
                  </a:lnTo>
                  <a:cubicBezTo>
                    <a:pt x="898" y="312"/>
                    <a:pt x="888" y="296"/>
                    <a:pt x="873" y="287"/>
                  </a:cubicBezTo>
                  <a:lnTo>
                    <a:pt x="608" y="133"/>
                  </a:lnTo>
                  <a:lnTo>
                    <a:pt x="470" y="19"/>
                  </a:lnTo>
                  <a:cubicBezTo>
                    <a:pt x="453" y="5"/>
                    <a:pt x="431" y="0"/>
                    <a:pt x="401" y="14"/>
                  </a:cubicBezTo>
                  <a:lnTo>
                    <a:pt x="25" y="231"/>
                  </a:lnTo>
                  <a:cubicBezTo>
                    <a:pt x="10" y="240"/>
                    <a:pt x="0" y="257"/>
                    <a:pt x="0" y="274"/>
                  </a:cubicBezTo>
                  <a:lnTo>
                    <a:pt x="0" y="307"/>
                  </a:lnTo>
                  <a:cubicBezTo>
                    <a:pt x="0" y="322"/>
                    <a:pt x="7" y="336"/>
                    <a:pt x="18" y="346"/>
                  </a:cubicBezTo>
                  <a:lnTo>
                    <a:pt x="146" y="455"/>
                  </a:lnTo>
                  <a:cubicBezTo>
                    <a:pt x="148" y="457"/>
                    <a:pt x="151" y="458"/>
                    <a:pt x="153" y="460"/>
                  </a:cubicBezTo>
                  <a:lnTo>
                    <a:pt x="434" y="623"/>
                  </a:lnTo>
                  <a:cubicBezTo>
                    <a:pt x="456" y="635"/>
                    <a:pt x="477" y="635"/>
                    <a:pt x="497" y="623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" name="Freeform 110">
              <a:extLst>
                <a:ext uri="{FF2B5EF4-FFF2-40B4-BE49-F238E27FC236}">
                  <a16:creationId xmlns:a16="http://schemas.microsoft.com/office/drawing/2014/main" id="{7FC20B91-2CE7-BF27-3FBD-AD4B4415DA52}"/>
                </a:ext>
              </a:extLst>
            </p:cNvPr>
            <p:cNvSpPr>
              <a:spLocks/>
            </p:cNvSpPr>
            <p:nvPr/>
          </p:nvSpPr>
          <p:spPr bwMode="auto">
            <a:xfrm>
              <a:off x="3138488" y="717550"/>
              <a:ext cx="93663" cy="55563"/>
            </a:xfrm>
            <a:custGeom>
              <a:avLst/>
              <a:gdLst>
                <a:gd name="T0" fmla="*/ 22 w 123"/>
                <a:gd name="T1" fmla="*/ 59 h 72"/>
                <a:gd name="T2" fmla="*/ 101 w 123"/>
                <a:gd name="T3" fmla="*/ 59 h 72"/>
                <a:gd name="T4" fmla="*/ 101 w 123"/>
                <a:gd name="T5" fmla="*/ 13 h 72"/>
                <a:gd name="T6" fmla="*/ 22 w 123"/>
                <a:gd name="T7" fmla="*/ 13 h 72"/>
                <a:gd name="T8" fmla="*/ 22 w 123"/>
                <a:gd name="T9" fmla="*/ 59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3" h="72">
                  <a:moveTo>
                    <a:pt x="22" y="59"/>
                  </a:moveTo>
                  <a:cubicBezTo>
                    <a:pt x="44" y="72"/>
                    <a:pt x="79" y="72"/>
                    <a:pt x="101" y="59"/>
                  </a:cubicBezTo>
                  <a:cubicBezTo>
                    <a:pt x="123" y="46"/>
                    <a:pt x="123" y="26"/>
                    <a:pt x="101" y="13"/>
                  </a:cubicBezTo>
                  <a:cubicBezTo>
                    <a:pt x="80" y="0"/>
                    <a:pt x="44" y="0"/>
                    <a:pt x="22" y="13"/>
                  </a:cubicBezTo>
                  <a:cubicBezTo>
                    <a:pt x="0" y="26"/>
                    <a:pt x="0" y="46"/>
                    <a:pt x="22" y="59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" name="Freeform 111">
              <a:extLst>
                <a:ext uri="{FF2B5EF4-FFF2-40B4-BE49-F238E27FC236}">
                  <a16:creationId xmlns:a16="http://schemas.microsoft.com/office/drawing/2014/main" id="{B46255EE-C6AA-42EA-FE31-B31DE9AD82E1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6888" y="658812"/>
              <a:ext cx="93663" cy="53975"/>
            </a:xfrm>
            <a:custGeom>
              <a:avLst/>
              <a:gdLst>
                <a:gd name="T0" fmla="*/ 101 w 123"/>
                <a:gd name="T1" fmla="*/ 12 h 71"/>
                <a:gd name="T2" fmla="*/ 22 w 123"/>
                <a:gd name="T3" fmla="*/ 12 h 71"/>
                <a:gd name="T4" fmla="*/ 21 w 123"/>
                <a:gd name="T5" fmla="*/ 58 h 71"/>
                <a:gd name="T6" fmla="*/ 101 w 123"/>
                <a:gd name="T7" fmla="*/ 58 h 71"/>
                <a:gd name="T8" fmla="*/ 101 w 123"/>
                <a:gd name="T9" fmla="*/ 12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3" h="71">
                  <a:moveTo>
                    <a:pt x="101" y="12"/>
                  </a:moveTo>
                  <a:cubicBezTo>
                    <a:pt x="79" y="0"/>
                    <a:pt x="44" y="0"/>
                    <a:pt x="22" y="12"/>
                  </a:cubicBezTo>
                  <a:cubicBezTo>
                    <a:pt x="0" y="25"/>
                    <a:pt x="0" y="46"/>
                    <a:pt x="21" y="58"/>
                  </a:cubicBezTo>
                  <a:cubicBezTo>
                    <a:pt x="43" y="71"/>
                    <a:pt x="79" y="71"/>
                    <a:pt x="101" y="58"/>
                  </a:cubicBezTo>
                  <a:cubicBezTo>
                    <a:pt x="122" y="46"/>
                    <a:pt x="123" y="25"/>
                    <a:pt x="101" y="1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" name="Freeform 112">
              <a:extLst>
                <a:ext uri="{FF2B5EF4-FFF2-40B4-BE49-F238E27FC236}">
                  <a16:creationId xmlns:a16="http://schemas.microsoft.com/office/drawing/2014/main" id="{90FD0DA1-77AC-498C-180A-C8CE42506F91}"/>
                </a:ext>
              </a:extLst>
            </p:cNvPr>
            <p:cNvSpPr>
              <a:spLocks/>
            </p:cNvSpPr>
            <p:nvPr/>
          </p:nvSpPr>
          <p:spPr bwMode="auto">
            <a:xfrm>
              <a:off x="3014663" y="788987"/>
              <a:ext cx="95250" cy="53975"/>
            </a:xfrm>
            <a:custGeom>
              <a:avLst/>
              <a:gdLst>
                <a:gd name="T0" fmla="*/ 101 w 123"/>
                <a:gd name="T1" fmla="*/ 12 h 71"/>
                <a:gd name="T2" fmla="*/ 22 w 123"/>
                <a:gd name="T3" fmla="*/ 12 h 71"/>
                <a:gd name="T4" fmla="*/ 22 w 123"/>
                <a:gd name="T5" fmla="*/ 58 h 71"/>
                <a:gd name="T6" fmla="*/ 101 w 123"/>
                <a:gd name="T7" fmla="*/ 58 h 71"/>
                <a:gd name="T8" fmla="*/ 101 w 123"/>
                <a:gd name="T9" fmla="*/ 12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3" h="71">
                  <a:moveTo>
                    <a:pt x="101" y="12"/>
                  </a:moveTo>
                  <a:cubicBezTo>
                    <a:pt x="80" y="0"/>
                    <a:pt x="44" y="0"/>
                    <a:pt x="22" y="12"/>
                  </a:cubicBezTo>
                  <a:cubicBezTo>
                    <a:pt x="0" y="25"/>
                    <a:pt x="0" y="45"/>
                    <a:pt x="22" y="58"/>
                  </a:cubicBezTo>
                  <a:cubicBezTo>
                    <a:pt x="44" y="71"/>
                    <a:pt x="79" y="71"/>
                    <a:pt x="101" y="58"/>
                  </a:cubicBezTo>
                  <a:cubicBezTo>
                    <a:pt x="123" y="45"/>
                    <a:pt x="123" y="25"/>
                    <a:pt x="101" y="1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" name="Freeform 113">
              <a:extLst>
                <a:ext uri="{FF2B5EF4-FFF2-40B4-BE49-F238E27FC236}">
                  <a16:creationId xmlns:a16="http://schemas.microsoft.com/office/drawing/2014/main" id="{C3E700F9-647F-D069-8EEB-E03A82739698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4651" y="730250"/>
              <a:ext cx="92075" cy="53975"/>
            </a:xfrm>
            <a:custGeom>
              <a:avLst/>
              <a:gdLst>
                <a:gd name="T0" fmla="*/ 101 w 122"/>
                <a:gd name="T1" fmla="*/ 12 h 71"/>
                <a:gd name="T2" fmla="*/ 22 w 122"/>
                <a:gd name="T3" fmla="*/ 12 h 71"/>
                <a:gd name="T4" fmla="*/ 21 w 122"/>
                <a:gd name="T5" fmla="*/ 58 h 71"/>
                <a:gd name="T6" fmla="*/ 100 w 122"/>
                <a:gd name="T7" fmla="*/ 58 h 71"/>
                <a:gd name="T8" fmla="*/ 101 w 122"/>
                <a:gd name="T9" fmla="*/ 12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2" h="71">
                  <a:moveTo>
                    <a:pt x="101" y="12"/>
                  </a:moveTo>
                  <a:cubicBezTo>
                    <a:pt x="79" y="0"/>
                    <a:pt x="43" y="0"/>
                    <a:pt x="22" y="12"/>
                  </a:cubicBezTo>
                  <a:cubicBezTo>
                    <a:pt x="0" y="25"/>
                    <a:pt x="0" y="46"/>
                    <a:pt x="21" y="58"/>
                  </a:cubicBezTo>
                  <a:cubicBezTo>
                    <a:pt x="43" y="71"/>
                    <a:pt x="79" y="71"/>
                    <a:pt x="100" y="58"/>
                  </a:cubicBezTo>
                  <a:cubicBezTo>
                    <a:pt x="122" y="46"/>
                    <a:pt x="122" y="25"/>
                    <a:pt x="101" y="1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" name="Freeform 114">
              <a:extLst>
                <a:ext uri="{FF2B5EF4-FFF2-40B4-BE49-F238E27FC236}">
                  <a16:creationId xmlns:a16="http://schemas.microsoft.com/office/drawing/2014/main" id="{22192775-135A-19E6-2FB8-D005A99E947B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001" y="568325"/>
              <a:ext cx="268288" cy="165100"/>
            </a:xfrm>
            <a:custGeom>
              <a:avLst/>
              <a:gdLst>
                <a:gd name="T0" fmla="*/ 347 w 353"/>
                <a:gd name="T1" fmla="*/ 48 h 216"/>
                <a:gd name="T2" fmla="*/ 292 w 353"/>
                <a:gd name="T3" fmla="*/ 3 h 216"/>
                <a:gd name="T4" fmla="*/ 270 w 353"/>
                <a:gd name="T5" fmla="*/ 3 h 216"/>
                <a:gd name="T6" fmla="*/ 6 w 353"/>
                <a:gd name="T7" fmla="*/ 156 h 216"/>
                <a:gd name="T8" fmla="*/ 6 w 353"/>
                <a:gd name="T9" fmla="*/ 168 h 216"/>
                <a:gd name="T10" fmla="*/ 61 w 353"/>
                <a:gd name="T11" fmla="*/ 213 h 216"/>
                <a:gd name="T12" fmla="*/ 83 w 353"/>
                <a:gd name="T13" fmla="*/ 213 h 216"/>
                <a:gd name="T14" fmla="*/ 347 w 353"/>
                <a:gd name="T15" fmla="*/ 60 h 216"/>
                <a:gd name="T16" fmla="*/ 347 w 353"/>
                <a:gd name="T17" fmla="*/ 48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3" h="216">
                  <a:moveTo>
                    <a:pt x="347" y="48"/>
                  </a:moveTo>
                  <a:lnTo>
                    <a:pt x="292" y="3"/>
                  </a:lnTo>
                  <a:cubicBezTo>
                    <a:pt x="286" y="0"/>
                    <a:pt x="276" y="0"/>
                    <a:pt x="270" y="3"/>
                  </a:cubicBezTo>
                  <a:lnTo>
                    <a:pt x="6" y="156"/>
                  </a:lnTo>
                  <a:cubicBezTo>
                    <a:pt x="0" y="159"/>
                    <a:pt x="2" y="164"/>
                    <a:pt x="6" y="168"/>
                  </a:cubicBezTo>
                  <a:lnTo>
                    <a:pt x="61" y="213"/>
                  </a:lnTo>
                  <a:cubicBezTo>
                    <a:pt x="67" y="216"/>
                    <a:pt x="77" y="216"/>
                    <a:pt x="83" y="213"/>
                  </a:cubicBezTo>
                  <a:lnTo>
                    <a:pt x="347" y="60"/>
                  </a:lnTo>
                  <a:cubicBezTo>
                    <a:pt x="353" y="57"/>
                    <a:pt x="352" y="51"/>
                    <a:pt x="347" y="48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47" name="Action Button: Go to End 46">
            <a:hlinkClick r:id="rId14" highlightClick="1"/>
            <a:extLst>
              <a:ext uri="{FF2B5EF4-FFF2-40B4-BE49-F238E27FC236}">
                <a16:creationId xmlns:a16="http://schemas.microsoft.com/office/drawing/2014/main" id="{9A4A8D39-A647-4B03-2127-9EF9A1BBF7BE}"/>
              </a:ext>
            </a:extLst>
          </p:cNvPr>
          <p:cNvSpPr/>
          <p:nvPr/>
        </p:nvSpPr>
        <p:spPr>
          <a:xfrm>
            <a:off x="543959" y="1377799"/>
            <a:ext cx="475404" cy="425767"/>
          </a:xfrm>
          <a:prstGeom prst="actionButtonEnd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4BD6344B-05FE-6BD6-8C7C-263E21BCE5CF}"/>
              </a:ext>
            </a:extLst>
          </p:cNvPr>
          <p:cNvSpPr/>
          <p:nvPr/>
        </p:nvSpPr>
        <p:spPr>
          <a:xfrm>
            <a:off x="992229" y="1416462"/>
            <a:ext cx="319940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>
                <a:solidFill>
                  <a:schemeClr val="tx2"/>
                </a:solidFill>
              </a:rPr>
              <a:t>Go to the application form here</a:t>
            </a:r>
          </a:p>
        </p:txBody>
      </p:sp>
    </p:spTree>
    <p:extLst>
      <p:ext uri="{BB962C8B-B14F-4D97-AF65-F5344CB8AC3E}">
        <p14:creationId xmlns:p14="http://schemas.microsoft.com/office/powerpoint/2010/main" val="325330860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FFB8FB2-09D2-7923-7D73-7005CC308A6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GB" sz="2400" dirty="0"/>
              <a:t>Why are you testing?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AC8726A-627C-4AA2-C6C3-E66EED7CF8FD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you tell us about the objectives and strategy for your new  activity.</a:t>
            </a:r>
          </a:p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Could you explain how this is something new to your marketing plan.</a:t>
            </a:r>
          </a:p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Outline the strategic thinking on why you are sending incremental mail.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D77ED36C-FDDE-2C48-DF85-F64FE9D2F3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e more detail the better!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F133AD93-2A5F-658E-3F18-D529BB3AB26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870719" y="2016564"/>
            <a:ext cx="3309915" cy="1031875"/>
          </a:xfrm>
        </p:spPr>
        <p:txBody>
          <a:bodyPr/>
          <a:lstStyle/>
          <a:p>
            <a:r>
              <a:rPr lang="en-GB" sz="2400" dirty="0"/>
              <a:t>How are you measuring the results?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867E108F-0AAA-5611-1B7F-B56D7170C19F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en-GB" sz="2400" dirty="0"/>
              <a:t>What are the details of the test?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22F642EF-4851-D2A8-508D-09D4BCD7C96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Who are you targeting and why?</a:t>
            </a:r>
          </a:p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What targeting strategy have you used e.g. profiling? existing customer base.</a:t>
            </a:r>
          </a:p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What test cells are in your plan?</a:t>
            </a:r>
          </a:p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Are you testing different creative routes and if so, why?</a:t>
            </a:r>
          </a:p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If you have a test matrix please do include it.</a:t>
            </a:r>
          </a:p>
          <a:p>
            <a:endParaRPr lang="en-GB" sz="1600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85749DE-C148-7929-ECD1-C46089B8241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Please tell us the volumes you are testing.</a:t>
            </a:r>
          </a:p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What are the main KPIs for this campaign – predicted response rate, sales and ROI.</a:t>
            </a:r>
          </a:p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Is there anything else you want to achieve with the campaign?  Drive to digital, push to store or other softer brand measures, for example?</a:t>
            </a:r>
          </a:p>
          <a:p>
            <a:endParaRPr lang="en-GB" sz="16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8BF5C59-D957-7271-8BCA-21E19BB3517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9</a:t>
            </a:fld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97FCEF-501D-11A0-F66D-39C8A3E7E09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The more information you can provide will help us process your application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9A7742C-AC5C-A60A-867E-A4E3BBE7DDC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1945968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arget_POWER_USER_SEPARATOR_ICONS_aim_POWER_USER_SEPARATOR_ICONS_alternate_POWER_USER_SEPARATOR_ICONS_swapping_POWER_USER_SEPARATOR_ICONS_switch_POWER_USER_SEPARATOR_ICONS_target-shooting_POWER_USER_SEPARATOR_ICONS_targeted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arget_POWER_USER_SEPARATOR_ICONS_aim_POWER_USER_SEPARATOR_ICONS_alternate_POWER_USER_SEPARATOR_ICONS_swapping_POWER_USER_SEPARATOR_ICONS_switch_POWER_USER_SEPARATOR_ICONS_target-shooting_POWER_USER_SEPARATOR_ICONS_targeted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arget_POWER_USER_SEPARATOR_ICONS_aim_POWER_USER_SEPARATOR_ICONS_alternate_POWER_USER_SEPARATOR_ICONS_swapping_POWER_USER_SEPARATOR_ICONS_switch_POWER_USER_SEPARATOR_ICONS_target-shooting_POWER_USER_SEPARATOR_ICONS_targeted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arget_POWER_USER_SEPARATOR_ICONS_aim_POWER_USER_SEPARATOR_ICONS_alternate_POWER_USER_SEPARATOR_ICONS_swapping_POWER_USER_SEPARATOR_ICONS_switch_POWER_USER_SEPARATOR_ICONS_target-shooting_POWER_USER_SEPARATOR_ICONS_targeted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ercent_POWER_USER_SEPARATOR_ICONS_deal_POWER_USER_SEPARATOR_ICONS_deals_POWER_USER_SEPARATOR_ICONS_discount_POWER_USER_SEPARATOR_ICONS_hurry_POWER_USER_SEPARATOR_ICONS_offer_POWER_USER_SEPARATOR_ICONS_sal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ercent_POWER_USER_SEPARATOR_ICONS_deal_POWER_USER_SEPARATOR_ICONS_deals_POWER_USER_SEPARATOR_ICONS_discount_POWER_USER_SEPARATOR_ICONS_hurry_POWER_USER_SEPARATOR_ICONS_offer_POWER_USER_SEPARATOR_ICONS_sal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ercent_POWER_USER_SEPARATOR_ICONS_deal_POWER_USER_SEPARATOR_ICONS_deals_POWER_USER_SEPARATOR_ICONS_discount_POWER_USER_SEPARATOR_ICONS_hurry_POWER_USER_SEPARATOR_ICONS_offer_POWER_USER_SEPARATOR_ICONS_sal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ercent_POWER_USER_SEPARATOR_ICONS_deal_POWER_USER_SEPARATOR_ICONS_deals_POWER_USER_SEPARATOR_ICONS_discount_POWER_USER_SEPARATOR_ICONS_hurry_POWER_USER_SEPARATOR_ICONS_offer_POWER_USER_SEPARATOR_ICONS_sal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aper_POWER_USER_SEPARATOR_ICONS_aircraft_POWER_USER_SEPARATOR_ICONS_airplane_POWER_USER_SEPARATOR_ICONS_play_POWER_USER_SEPARATOR_ICONS_send_POWER_USER_SEPARATOR_ICONS_email_POWER_USER_SEPARATOR_ICONS_messag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lus_POWER_USER_SEPARATOR_ICONS_with_POWER_USER_SEPARATOR_ICONS_put-together_POWER_USER_SEPARATOR_ICONS_operator_POWER_USER_SEPARATOR_ICONS_operate_POWER_USER_SEPARATOR_ICONS_more_POWER_USER_SEPARATOR_ICONS_math_POWER_USER_SEPARATOR_ICONS_high_POWER_USER_SEPARATOR_ICONS_expand_POWER_USER_SEPARATOR_ICONS_create_POWER_USER_SEPARATOR_ICONS_combine_POWER_USER_SEPARATOR_ICONS_both_POWER_USER_SEPARATOR_ICONS_big_POWER_USER_SEPARATOR_ICONS_add_POWER_USER_SEPARATOR_ICONS_complement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lus_POWER_USER_SEPARATOR_ICONS_with_POWER_USER_SEPARATOR_ICONS_put-together_POWER_USER_SEPARATOR_ICONS_operator_POWER_USER_SEPARATOR_ICONS_operate_POWER_USER_SEPARATOR_ICONS_more_POWER_USER_SEPARATOR_ICONS_math_POWER_USER_SEPARATOR_ICONS_high_POWER_USER_SEPARATOR_ICONS_expand_POWER_USER_SEPARATOR_ICONS_create_POWER_USER_SEPARATOR_ICONS_combine_POWER_USER_SEPARATOR_ICONS_both_POWER_USER_SEPARATOR_ICONS_big_POWER_USER_SEPARATOR_ICONS_add_POWER_USER_SEPARATOR_ICONS_complement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lus_POWER_USER_SEPARATOR_ICONS_with_POWER_USER_SEPARATOR_ICONS_put-together_POWER_USER_SEPARATOR_ICONS_operator_POWER_USER_SEPARATOR_ICONS_operate_POWER_USER_SEPARATOR_ICONS_more_POWER_USER_SEPARATOR_ICONS_math_POWER_USER_SEPARATOR_ICONS_high_POWER_USER_SEPARATOR_ICONS_expand_POWER_USER_SEPARATOR_ICONS_create_POWER_USER_SEPARATOR_ICONS_combine_POWER_USER_SEPARATOR_ICONS_both_POWER_USER_SEPARATOR_ICONS_big_POWER_USER_SEPARATOR_ICONS_add_POWER_USER_SEPARATOR_ICONS_complement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pplication_POWER_USER_SEPARATOR_ICONS_edit_POWER_USER_SEPARATOR_ICONS_executable_POWER_USER_SEPARATOR_ICONS_illustration_POWER_USER_SEPARATOR_ICONS_illustrator_POWER_USER_SEPARATOR_ICONS_program_POWER_USER_SEPARATOR_ICONS_softwar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pplication_POWER_USER_SEPARATOR_ICONS_edit_POWER_USER_SEPARATOR_ICONS_executable_POWER_USER_SEPARATOR_ICONS_illustration_POWER_USER_SEPARATOR_ICONS_illustrator_POWER_USER_SEPARATOR_ICONS_program_POWER_USER_SEPARATOR_ICONS_softwar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pplication_POWER_USER_SEPARATOR_ICONS_edit_POWER_USER_SEPARATOR_ICONS_executable_POWER_USER_SEPARATOR_ICONS_illustration_POWER_USER_SEPARATOR_ICONS_illustrator_POWER_USER_SEPARATOR_ICONS_program_POWER_USER_SEPARATOR_ICONS_softwar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pplication_POWER_USER_SEPARATOR_ICONS_edit_POWER_USER_SEPARATOR_ICONS_executable_POWER_USER_SEPARATOR_ICONS_illustration_POWER_USER_SEPARATOR_ICONS_illustrator_POWER_USER_SEPARATOR_ICONS_program_POWER_USER_SEPARATOR_ICONS_softwar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pplication_POWER_USER_SEPARATOR_ICONS_edit_POWER_USER_SEPARATOR_ICONS_executable_POWER_USER_SEPARATOR_ICONS_illustration_POWER_USER_SEPARATOR_ICONS_illustrator_POWER_USER_SEPARATOR_ICONS_program_POWER_USER_SEPARATOR_ICONS_softwar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pplication_POWER_USER_SEPARATOR_ICONS_edit_POWER_USER_SEPARATOR_ICONS_executable_POWER_USER_SEPARATOR_ICONS_illustration_POWER_USER_SEPARATOR_ICONS_illustrator_POWER_USER_SEPARATOR_ICONS_program_POWER_USER_SEPARATOR_ICONS_softwar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pplication_POWER_USER_SEPARATOR_ICONS_edit_POWER_USER_SEPARATOR_ICONS_executable_POWER_USER_SEPARATOR_ICONS_illustration_POWER_USER_SEPARATOR_ICONS_illustrator_POWER_USER_SEPARATOR_ICONS_program_POWER_USER_SEPARATOR_ICONS_software"/>
</p:tagLst>
</file>

<file path=ppt/theme/theme1.xml><?xml version="1.0" encoding="utf-8"?>
<a:theme xmlns:a="http://schemas.openxmlformats.org/drawingml/2006/main" name="Office Theme">
  <a:themeElements>
    <a:clrScheme name="Custom Marketreach">
      <a:dk1>
        <a:srgbClr val="000000"/>
      </a:dk1>
      <a:lt1>
        <a:srgbClr val="FFFFFF"/>
      </a:lt1>
      <a:dk2>
        <a:srgbClr val="666666"/>
      </a:dk2>
      <a:lt2>
        <a:srgbClr val="FFFFFF"/>
      </a:lt2>
      <a:accent1>
        <a:srgbClr val="E32019"/>
      </a:accent1>
      <a:accent2>
        <a:srgbClr val="EE7975"/>
      </a:accent2>
      <a:accent3>
        <a:srgbClr val="F9D3D1"/>
      </a:accent3>
      <a:accent4>
        <a:srgbClr val="000000"/>
      </a:accent4>
      <a:accent5>
        <a:srgbClr val="666666"/>
      </a:accent5>
      <a:accent6>
        <a:srgbClr val="C1C1C1"/>
      </a:accent6>
      <a:hlink>
        <a:srgbClr val="E32019"/>
      </a:hlink>
      <a:folHlink>
        <a:srgbClr val="E94D47"/>
      </a:folHlink>
    </a:clrScheme>
    <a:fontScheme name="Marketreach fonts">
      <a:majorFont>
        <a:latin typeface="Century Gothic"/>
        <a:ea typeface=""/>
        <a:cs typeface=""/>
      </a:majorFont>
      <a:minorFont>
        <a:latin typeface="Calibri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C8D8A59B4AA4848ADA4BE9476DACB43" ma:contentTypeVersion="14" ma:contentTypeDescription="Create a new document." ma:contentTypeScope="" ma:versionID="70c108b2fcbff4ff9bbeb89ecf086dda">
  <xsd:schema xmlns:xsd="http://www.w3.org/2001/XMLSchema" xmlns:xs="http://www.w3.org/2001/XMLSchema" xmlns:p="http://schemas.microsoft.com/office/2006/metadata/properties" xmlns:ns3="707d9dac-b3e0-4010-a31f-c9f487ae09b7" targetNamespace="http://schemas.microsoft.com/office/2006/metadata/properties" ma:root="true" ma:fieldsID="196871291bfcfa2beb5b3dd12e95e968" ns3:_="">
    <xsd:import namespace="707d9dac-b3e0-4010-a31f-c9f487ae09b7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Location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MediaServiceObjectDetectorVersions" minOccurs="0"/>
                <xsd:element ref="ns3:_activity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07d9dac-b3e0-4010-a31f-c9f487ae09b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OCR" ma:index="12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3" nillable="true" ma:displayName="MediaServiceLocation" ma:internalName="MediaServiceLocation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8" nillable="true" ma:displayName="Length (seconds)" ma:internalName="MediaLengthInSeconds" ma:readOnly="true">
      <xsd:simpleType>
        <xsd:restriction base="dms:Unknown"/>
      </xsd:simpleType>
    </xsd:element>
    <xsd:element name="MediaServiceObjectDetectorVersions" ma:index="19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_activity" ma:index="20" nillable="true" ma:displayName="_activity" ma:hidden="true" ma:internalName="_activity">
      <xsd:simpleType>
        <xsd:restriction base="dms:Note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707d9dac-b3e0-4010-a31f-c9f487ae09b7" xsi:nil="true"/>
  </documentManagement>
</p:properties>
</file>

<file path=customXml/itemProps1.xml><?xml version="1.0" encoding="utf-8"?>
<ds:datastoreItem xmlns:ds="http://schemas.openxmlformats.org/officeDocument/2006/customXml" ds:itemID="{DB9B7A39-CCC6-4ED8-B3FC-BD560E9CD4CD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4E1B26B6-C6C1-4C29-AF4B-6725E032746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07d9dac-b3e0-4010-a31f-c9f487ae09b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56937AC5-93BF-49A6-B607-CC4F4B0ECEB8}">
  <ds:schemaRefs>
    <ds:schemaRef ds:uri="http://purl.org/dc/terms/"/>
    <ds:schemaRef ds:uri="http://schemas.microsoft.com/office/infopath/2007/PartnerControls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707d9dac-b3e0-4010-a31f-c9f487ae09b7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675</Words>
  <Application>Microsoft Office PowerPoint</Application>
  <PresentationFormat>Widescreen</PresentationFormat>
  <Paragraphs>101</Paragraphs>
  <Slides>11</Slides>
  <Notes>2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7" baseType="lpstr">
      <vt:lpstr>Arial</vt:lpstr>
      <vt:lpstr>Calibri</vt:lpstr>
      <vt:lpstr>Century Gothic</vt:lpstr>
      <vt:lpstr>Impact</vt:lpstr>
      <vt:lpstr>Wingdings</vt:lpstr>
      <vt:lpstr>Office Theme</vt:lpstr>
      <vt:lpstr>ROYAL MAIL CHARITY INCENTIVE</vt:lpstr>
      <vt:lpstr>Incentive Content guidance</vt:lpstr>
      <vt:lpstr>PowerPoint Presentation</vt:lpstr>
      <vt:lpstr>Advertising mail</vt:lpstr>
      <vt:lpstr>Entry requirements</vt:lpstr>
      <vt:lpstr>Offer dates</vt:lpstr>
      <vt:lpstr>Postage credits</vt:lpstr>
      <vt:lpstr>The APPLICATION AND CREDIT process</vt:lpstr>
      <vt:lpstr>The more detail the better!</vt:lpstr>
      <vt:lpstr>Frequently asked questions</vt:lpstr>
      <vt:lpstr>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8-10-03T11:19:32Z</dcterms:created>
  <dcterms:modified xsi:type="dcterms:W3CDTF">2025-05-13T08:31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980f36f3-41a5-4f45-a6a2-e224f336accd_Enabled">
    <vt:lpwstr>true</vt:lpwstr>
  </property>
  <property fmtid="{D5CDD505-2E9C-101B-9397-08002B2CF9AE}" pid="3" name="MSIP_Label_980f36f3-41a5-4f45-a6a2-e224f336accd_SetDate">
    <vt:lpwstr>2021-08-02T15:26:48Z</vt:lpwstr>
  </property>
  <property fmtid="{D5CDD505-2E9C-101B-9397-08002B2CF9AE}" pid="4" name="MSIP_Label_980f36f3-41a5-4f45-a6a2-e224f336accd_Method">
    <vt:lpwstr>Standard</vt:lpwstr>
  </property>
  <property fmtid="{D5CDD505-2E9C-101B-9397-08002B2CF9AE}" pid="5" name="MSIP_Label_980f36f3-41a5-4f45-a6a2-e224f336accd_Name">
    <vt:lpwstr>980f36f3-41a5-4f45-a6a2-e224f336accd</vt:lpwstr>
  </property>
  <property fmtid="{D5CDD505-2E9C-101B-9397-08002B2CF9AE}" pid="6" name="MSIP_Label_980f36f3-41a5-4f45-a6a2-e224f336accd_SiteId">
    <vt:lpwstr>7a082108-90dd-41ac-be41-9b8feabee2da</vt:lpwstr>
  </property>
  <property fmtid="{D5CDD505-2E9C-101B-9397-08002B2CF9AE}" pid="7" name="MSIP_Label_980f36f3-41a5-4f45-a6a2-e224f336accd_ActionId">
    <vt:lpwstr/>
  </property>
  <property fmtid="{D5CDD505-2E9C-101B-9397-08002B2CF9AE}" pid="8" name="MSIP_Label_980f36f3-41a5-4f45-a6a2-e224f336accd_ContentBits">
    <vt:lpwstr>2</vt:lpwstr>
  </property>
  <property fmtid="{D5CDD505-2E9C-101B-9397-08002B2CF9AE}" pid="9" name="ContentTypeId">
    <vt:lpwstr>0x010100FC8D8A59B4AA4848ADA4BE9476DACB43</vt:lpwstr>
  </property>
</Properties>
</file>